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1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2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3.xml" ContentType="application/vnd.openxmlformats-officedocument.drawingml.chart+xml"/>
  <Override PartName="/ppt/charts/chart24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5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6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7.xml" ContentType="application/vnd.openxmlformats-officedocument.drawingml.chart+xml"/>
  <Override PartName="/ppt/charts/chart28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9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30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33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34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7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8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9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40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41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charts/chart42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43.xml" ContentType="application/vnd.openxmlformats-officedocument.drawingml.chart+xml"/>
  <Override PartName="/ppt/charts/chart44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45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charts/chart46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7.xml" ContentType="application/vnd.openxmlformats-officedocument.drawingml.chart+xml"/>
  <Override PartName="/ppt/charts/chart48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9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50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charts/chart51.xml" ContentType="application/vnd.openxmlformats-officedocument.drawingml.chart+xml"/>
  <Override PartName="/ppt/charts/chart52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53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54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charts/chart55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56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57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58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charts/chart59.xml" ContentType="application/vnd.openxmlformats-officedocument.drawingml.chart+xml"/>
  <Override PartName="/ppt/charts/chart6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6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6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charts/chart6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6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6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6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charts/chart67.xml" ContentType="application/vnd.openxmlformats-officedocument.drawingml.chart+xml"/>
  <Override PartName="/ppt/charts/chart68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69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70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charts/chart71.xml" ContentType="application/vnd.openxmlformats-officedocument.drawingml.chart+xml"/>
  <Override PartName="/ppt/charts/style60.xml" ContentType="application/vnd.ms-office.chartstyle+xml"/>
  <Override PartName="/ppt/charts/colors60.xml" ContentType="application/vnd.ms-office.chartcolorstyle+xml"/>
  <Override PartName="/ppt/charts/chart72.xml" ContentType="application/vnd.openxmlformats-officedocument.drawingml.chart+xml"/>
  <Override PartName="/ppt/charts/style61.xml" ContentType="application/vnd.ms-office.chartstyle+xml"/>
  <Override PartName="/ppt/charts/colors61.xml" ContentType="application/vnd.ms-office.chartcolorstyle+xml"/>
  <Override PartName="/ppt/charts/chart73.xml" ContentType="application/vnd.openxmlformats-officedocument.drawingml.chart+xml"/>
  <Override PartName="/ppt/charts/style62.xml" ContentType="application/vnd.ms-office.chartstyle+xml"/>
  <Override PartName="/ppt/charts/colors62.xml" ContentType="application/vnd.ms-office.chartcolorstyle+xml"/>
  <Override PartName="/ppt/charts/chart74.xml" ContentType="application/vnd.openxmlformats-officedocument.drawingml.chart+xml"/>
  <Override PartName="/ppt/charts/style63.xml" ContentType="application/vnd.ms-office.chartstyle+xml"/>
  <Override PartName="/ppt/charts/colors63.xml" ContentType="application/vnd.ms-office.chartcolorstyle+xml"/>
  <Override PartName="/ppt/charts/chart75.xml" ContentType="application/vnd.openxmlformats-officedocument.drawingml.chart+xml"/>
  <Override PartName="/ppt/charts/chart76.xml" ContentType="application/vnd.openxmlformats-officedocument.drawingml.chart+xml"/>
  <Override PartName="/ppt/charts/style64.xml" ContentType="application/vnd.ms-office.chartstyle+xml"/>
  <Override PartName="/ppt/charts/colors64.xml" ContentType="application/vnd.ms-office.chartcolorstyle+xml"/>
  <Override PartName="/ppt/charts/chart77.xml" ContentType="application/vnd.openxmlformats-officedocument.drawingml.chart+xml"/>
  <Override PartName="/ppt/charts/style65.xml" ContentType="application/vnd.ms-office.chartstyle+xml"/>
  <Override PartName="/ppt/charts/colors65.xml" ContentType="application/vnd.ms-office.chartcolorstyle+xml"/>
  <Override PartName="/ppt/charts/chart78.xml" ContentType="application/vnd.openxmlformats-officedocument.drawingml.chart+xml"/>
  <Override PartName="/ppt/charts/style66.xml" ContentType="application/vnd.ms-office.chartstyle+xml"/>
  <Override PartName="/ppt/charts/colors66.xml" ContentType="application/vnd.ms-office.chartcolorstyle+xml"/>
  <Override PartName="/ppt/charts/chart79.xml" ContentType="application/vnd.openxmlformats-officedocument.drawingml.chart+xml"/>
  <Override PartName="/ppt/charts/chart80.xml" ContentType="application/vnd.openxmlformats-officedocument.drawingml.chart+xml"/>
  <Override PartName="/ppt/charts/style67.xml" ContentType="application/vnd.ms-office.chartstyle+xml"/>
  <Override PartName="/ppt/charts/colors67.xml" ContentType="application/vnd.ms-office.chartcolorstyle+xml"/>
  <Override PartName="/ppt/charts/chart81.xml" ContentType="application/vnd.openxmlformats-officedocument.drawingml.chart+xml"/>
  <Override PartName="/ppt/charts/style68.xml" ContentType="application/vnd.ms-office.chartstyle+xml"/>
  <Override PartName="/ppt/charts/colors68.xml" ContentType="application/vnd.ms-office.chartcolorstyle+xml"/>
  <Override PartName="/ppt/charts/chart82.xml" ContentType="application/vnd.openxmlformats-officedocument.drawingml.chart+xml"/>
  <Override PartName="/ppt/charts/style69.xml" ContentType="application/vnd.ms-office.chartstyle+xml"/>
  <Override PartName="/ppt/charts/colors69.xml" ContentType="application/vnd.ms-office.chartcolorstyle+xml"/>
  <Override PartName="/ppt/charts/chart83.xml" ContentType="application/vnd.openxmlformats-officedocument.drawingml.chart+xml"/>
  <Override PartName="/ppt/charts/chart84.xml" ContentType="application/vnd.openxmlformats-officedocument.drawingml.chart+xml"/>
  <Override PartName="/ppt/charts/style70.xml" ContentType="application/vnd.ms-office.chartstyle+xml"/>
  <Override PartName="/ppt/charts/colors70.xml" ContentType="application/vnd.ms-office.chartcolorstyle+xml"/>
  <Override PartName="/ppt/charts/chart85.xml" ContentType="application/vnd.openxmlformats-officedocument.drawingml.chart+xml"/>
  <Override PartName="/ppt/charts/style71.xml" ContentType="application/vnd.ms-office.chartstyle+xml"/>
  <Override PartName="/ppt/charts/colors71.xml" ContentType="application/vnd.ms-office.chartcolorstyle+xml"/>
  <Override PartName="/ppt/charts/chart86.xml" ContentType="application/vnd.openxmlformats-officedocument.drawingml.chart+xml"/>
  <Override PartName="/ppt/charts/style72.xml" ContentType="application/vnd.ms-office.chartstyle+xml"/>
  <Override PartName="/ppt/charts/colors72.xml" ContentType="application/vnd.ms-office.chartcolorstyle+xml"/>
  <Override PartName="/ppt/charts/chart87.xml" ContentType="application/vnd.openxmlformats-officedocument.drawingml.chart+xml"/>
  <Override PartName="/ppt/charts/chart88.xml" ContentType="application/vnd.openxmlformats-officedocument.drawingml.chart+xml"/>
  <Override PartName="/ppt/charts/style73.xml" ContentType="application/vnd.ms-office.chartstyle+xml"/>
  <Override PartName="/ppt/charts/colors73.xml" ContentType="application/vnd.ms-office.chartcolorstyle+xml"/>
  <Override PartName="/ppt/charts/chart89.xml" ContentType="application/vnd.openxmlformats-officedocument.drawingml.chart+xml"/>
  <Override PartName="/ppt/charts/style74.xml" ContentType="application/vnd.ms-office.chartstyle+xml"/>
  <Override PartName="/ppt/charts/colors74.xml" ContentType="application/vnd.ms-office.chartcolorstyle+xml"/>
  <Override PartName="/ppt/charts/chart90.xml" ContentType="application/vnd.openxmlformats-officedocument.drawingml.chart+xml"/>
  <Override PartName="/ppt/charts/style75.xml" ContentType="application/vnd.ms-office.chartstyle+xml"/>
  <Override PartName="/ppt/charts/colors75.xml" ContentType="application/vnd.ms-office.chartcolorstyle+xml"/>
  <Override PartName="/ppt/charts/chart91.xml" ContentType="application/vnd.openxmlformats-officedocument.drawingml.chart+xml"/>
  <Override PartName="/ppt/charts/chart92.xml" ContentType="application/vnd.openxmlformats-officedocument.drawingml.chart+xml"/>
  <Override PartName="/ppt/charts/style76.xml" ContentType="application/vnd.ms-office.chartstyle+xml"/>
  <Override PartName="/ppt/charts/colors76.xml" ContentType="application/vnd.ms-office.chartcolorstyle+xml"/>
  <Override PartName="/ppt/charts/chart93.xml" ContentType="application/vnd.openxmlformats-officedocument.drawingml.chart+xml"/>
  <Override PartName="/ppt/charts/style77.xml" ContentType="application/vnd.ms-office.chartstyle+xml"/>
  <Override PartName="/ppt/charts/colors77.xml" ContentType="application/vnd.ms-office.chartcolorstyle+xml"/>
  <Override PartName="/ppt/charts/chart94.xml" ContentType="application/vnd.openxmlformats-officedocument.drawingml.chart+xml"/>
  <Override PartName="/ppt/charts/style78.xml" ContentType="application/vnd.ms-office.chartstyle+xml"/>
  <Override PartName="/ppt/charts/colors78.xml" ContentType="application/vnd.ms-office.chartcolorstyle+xml"/>
  <Override PartName="/ppt/charts/chart95.xml" ContentType="application/vnd.openxmlformats-officedocument.drawingml.chart+xml"/>
  <Override PartName="/ppt/charts/chart96.xml" ContentType="application/vnd.openxmlformats-officedocument.drawingml.chart+xml"/>
  <Override PartName="/ppt/charts/style79.xml" ContentType="application/vnd.ms-office.chartstyle+xml"/>
  <Override PartName="/ppt/charts/colors79.xml" ContentType="application/vnd.ms-office.chartcolorstyle+xml"/>
  <Override PartName="/ppt/charts/chart97.xml" ContentType="application/vnd.openxmlformats-officedocument.drawingml.chart+xml"/>
  <Override PartName="/ppt/charts/style80.xml" ContentType="application/vnd.ms-office.chartstyle+xml"/>
  <Override PartName="/ppt/charts/colors80.xml" ContentType="application/vnd.ms-office.chartcolorstyle+xml"/>
  <Override PartName="/ppt/charts/chart98.xml" ContentType="application/vnd.openxmlformats-officedocument.drawingml.chart+xml"/>
  <Override PartName="/ppt/charts/style81.xml" ContentType="application/vnd.ms-office.chartstyle+xml"/>
  <Override PartName="/ppt/charts/colors81.xml" ContentType="application/vnd.ms-office.chartcolorstyle+xml"/>
  <Override PartName="/ppt/charts/chart99.xml" ContentType="application/vnd.openxmlformats-officedocument.drawingml.chart+xml"/>
  <Override PartName="/ppt/charts/chart100.xml" ContentType="application/vnd.openxmlformats-officedocument.drawingml.chart+xml"/>
  <Override PartName="/ppt/charts/style82.xml" ContentType="application/vnd.ms-office.chartstyle+xml"/>
  <Override PartName="/ppt/charts/colors82.xml" ContentType="application/vnd.ms-office.chartcolorstyle+xml"/>
  <Override PartName="/ppt/charts/chart101.xml" ContentType="application/vnd.openxmlformats-officedocument.drawingml.chart+xml"/>
  <Override PartName="/ppt/charts/style83.xml" ContentType="application/vnd.ms-office.chartstyle+xml"/>
  <Override PartName="/ppt/charts/colors83.xml" ContentType="application/vnd.ms-office.chartcolorstyle+xml"/>
  <Override PartName="/ppt/charts/chart102.xml" ContentType="application/vnd.openxmlformats-officedocument.drawingml.chart+xml"/>
  <Override PartName="/ppt/charts/style84.xml" ContentType="application/vnd.ms-office.chartstyle+xml"/>
  <Override PartName="/ppt/charts/colors84.xml" ContentType="application/vnd.ms-office.chartcolorstyle+xml"/>
  <Override PartName="/ppt/charts/chart103.xml" ContentType="application/vnd.openxmlformats-officedocument.drawingml.chart+xml"/>
  <Override PartName="/ppt/charts/chart104.xml" ContentType="application/vnd.openxmlformats-officedocument.drawingml.chart+xml"/>
  <Override PartName="/ppt/charts/style85.xml" ContentType="application/vnd.ms-office.chartstyle+xml"/>
  <Override PartName="/ppt/charts/colors85.xml" ContentType="application/vnd.ms-office.chartcolorstyle+xml"/>
  <Override PartName="/ppt/charts/chart105.xml" ContentType="application/vnd.openxmlformats-officedocument.drawingml.chart+xml"/>
  <Override PartName="/ppt/charts/style86.xml" ContentType="application/vnd.ms-office.chartstyle+xml"/>
  <Override PartName="/ppt/charts/colors86.xml" ContentType="application/vnd.ms-office.chartcolorstyle+xml"/>
  <Override PartName="/ppt/charts/chart106.xml" ContentType="application/vnd.openxmlformats-officedocument.drawingml.chart+xml"/>
  <Override PartName="/ppt/charts/style87.xml" ContentType="application/vnd.ms-office.chartstyle+xml"/>
  <Override PartName="/ppt/charts/colors87.xml" ContentType="application/vnd.ms-office.chartcolorstyle+xml"/>
  <Override PartName="/ppt/charts/chart107.xml" ContentType="application/vnd.openxmlformats-officedocument.drawingml.chart+xml"/>
  <Override PartName="/ppt/charts/chart108.xml" ContentType="application/vnd.openxmlformats-officedocument.drawingml.chart+xml"/>
  <Override PartName="/ppt/charts/style88.xml" ContentType="application/vnd.ms-office.chartstyle+xml"/>
  <Override PartName="/ppt/charts/colors88.xml" ContentType="application/vnd.ms-office.chartcolorstyle+xml"/>
  <Override PartName="/ppt/charts/chart109.xml" ContentType="application/vnd.openxmlformats-officedocument.drawingml.chart+xml"/>
  <Override PartName="/ppt/charts/style89.xml" ContentType="application/vnd.ms-office.chartstyle+xml"/>
  <Override PartName="/ppt/charts/colors89.xml" ContentType="application/vnd.ms-office.chartcolorstyle+xml"/>
  <Override PartName="/ppt/charts/chart110.xml" ContentType="application/vnd.openxmlformats-officedocument.drawingml.chart+xml"/>
  <Override PartName="/ppt/charts/style90.xml" ContentType="application/vnd.ms-office.chartstyle+xml"/>
  <Override PartName="/ppt/charts/colors90.xml" ContentType="application/vnd.ms-office.chartcolorstyle+xml"/>
  <Override PartName="/ppt/charts/chart111.xml" ContentType="application/vnd.openxmlformats-officedocument.drawingml.chart+xml"/>
  <Override PartName="/ppt/charts/chart112.xml" ContentType="application/vnd.openxmlformats-officedocument.drawingml.chart+xml"/>
  <Override PartName="/ppt/charts/style91.xml" ContentType="application/vnd.ms-office.chartstyle+xml"/>
  <Override PartName="/ppt/charts/colors91.xml" ContentType="application/vnd.ms-office.chartcolorstyle+xml"/>
  <Override PartName="/ppt/charts/chart113.xml" ContentType="application/vnd.openxmlformats-officedocument.drawingml.chart+xml"/>
  <Override PartName="/ppt/charts/style92.xml" ContentType="application/vnd.ms-office.chartstyle+xml"/>
  <Override PartName="/ppt/charts/colors92.xml" ContentType="application/vnd.ms-office.chartcolorstyle+xml"/>
  <Override PartName="/ppt/charts/chart114.xml" ContentType="application/vnd.openxmlformats-officedocument.drawingml.chart+xml"/>
  <Override PartName="/ppt/charts/style93.xml" ContentType="application/vnd.ms-office.chartstyle+xml"/>
  <Override PartName="/ppt/charts/colors93.xml" ContentType="application/vnd.ms-office.chartcolorstyle+xml"/>
  <Override PartName="/ppt/charts/chart115.xml" ContentType="application/vnd.openxmlformats-officedocument.drawingml.chart+xml"/>
  <Override PartName="/ppt/charts/chart116.xml" ContentType="application/vnd.openxmlformats-officedocument.drawingml.chart+xml"/>
  <Override PartName="/ppt/charts/style94.xml" ContentType="application/vnd.ms-office.chartstyle+xml"/>
  <Override PartName="/ppt/charts/colors94.xml" ContentType="application/vnd.ms-office.chartcolorstyle+xml"/>
  <Override PartName="/ppt/charts/chart117.xml" ContentType="application/vnd.openxmlformats-officedocument.drawingml.chart+xml"/>
  <Override PartName="/ppt/charts/style95.xml" ContentType="application/vnd.ms-office.chartstyle+xml"/>
  <Override PartName="/ppt/charts/colors95.xml" ContentType="application/vnd.ms-office.chartcolorstyle+xml"/>
  <Override PartName="/ppt/charts/chart118.xml" ContentType="application/vnd.openxmlformats-officedocument.drawingml.chart+xml"/>
  <Override PartName="/ppt/charts/style96.xml" ContentType="application/vnd.ms-office.chartstyle+xml"/>
  <Override PartName="/ppt/charts/colors96.xml" ContentType="application/vnd.ms-office.chartcolorstyle+xml"/>
  <Override PartName="/ppt/charts/chart119.xml" ContentType="application/vnd.openxmlformats-officedocument.drawingml.chart+xml"/>
  <Override PartName="/ppt/charts/chart120.xml" ContentType="application/vnd.openxmlformats-officedocument.drawingml.chart+xml"/>
  <Override PartName="/ppt/charts/style97.xml" ContentType="application/vnd.ms-office.chartstyle+xml"/>
  <Override PartName="/ppt/charts/colors97.xml" ContentType="application/vnd.ms-office.chartcolorstyle+xml"/>
  <Override PartName="/ppt/charts/chart121.xml" ContentType="application/vnd.openxmlformats-officedocument.drawingml.chart+xml"/>
  <Override PartName="/ppt/charts/style98.xml" ContentType="application/vnd.ms-office.chartstyle+xml"/>
  <Override PartName="/ppt/charts/colors98.xml" ContentType="application/vnd.ms-office.chartcolorstyle+xml"/>
  <Override PartName="/ppt/charts/chart122.xml" ContentType="application/vnd.openxmlformats-officedocument.drawingml.chart+xml"/>
  <Override PartName="/ppt/charts/style99.xml" ContentType="application/vnd.ms-office.chartstyle+xml"/>
  <Override PartName="/ppt/charts/colors99.xml" ContentType="application/vnd.ms-office.chartcolorstyle+xml"/>
  <Override PartName="/ppt/charts/chart123.xml" ContentType="application/vnd.openxmlformats-officedocument.drawingml.chart+xml"/>
  <Override PartName="/ppt/charts/chart124.xml" ContentType="application/vnd.openxmlformats-officedocument.drawingml.chart+xml"/>
  <Override PartName="/ppt/charts/style100.xml" ContentType="application/vnd.ms-office.chartstyle+xml"/>
  <Override PartName="/ppt/charts/colors100.xml" ContentType="application/vnd.ms-office.chartcolorstyle+xml"/>
  <Override PartName="/ppt/charts/chart125.xml" ContentType="application/vnd.openxmlformats-officedocument.drawingml.chart+xml"/>
  <Override PartName="/ppt/charts/style101.xml" ContentType="application/vnd.ms-office.chartstyle+xml"/>
  <Override PartName="/ppt/charts/colors101.xml" ContentType="application/vnd.ms-office.chartcolorstyle+xml"/>
  <Override PartName="/ppt/charts/chart126.xml" ContentType="application/vnd.openxmlformats-officedocument.drawingml.chart+xml"/>
  <Override PartName="/ppt/charts/style102.xml" ContentType="application/vnd.ms-office.chartstyle+xml"/>
  <Override PartName="/ppt/charts/colors102.xml" ContentType="application/vnd.ms-office.chartcolorstyle+xml"/>
  <Override PartName="/ppt/charts/chart127.xml" ContentType="application/vnd.openxmlformats-officedocument.drawingml.chart+xml"/>
  <Override PartName="/ppt/charts/chart128.xml" ContentType="application/vnd.openxmlformats-officedocument.drawingml.chart+xml"/>
  <Override PartName="/ppt/charts/style103.xml" ContentType="application/vnd.ms-office.chartstyle+xml"/>
  <Override PartName="/ppt/charts/colors103.xml" ContentType="application/vnd.ms-office.chartcolorstyle+xml"/>
  <Override PartName="/ppt/charts/chart129.xml" ContentType="application/vnd.openxmlformats-officedocument.drawingml.chart+xml"/>
  <Override PartName="/ppt/charts/style104.xml" ContentType="application/vnd.ms-office.chartstyle+xml"/>
  <Override PartName="/ppt/charts/colors104.xml" ContentType="application/vnd.ms-office.chartcolorstyle+xml"/>
  <Override PartName="/ppt/charts/chart130.xml" ContentType="application/vnd.openxmlformats-officedocument.drawingml.chart+xml"/>
  <Override PartName="/ppt/charts/style105.xml" ContentType="application/vnd.ms-office.chartstyle+xml"/>
  <Override PartName="/ppt/charts/colors105.xml" ContentType="application/vnd.ms-office.chartcolorstyle+xml"/>
  <Override PartName="/ppt/charts/chart131.xml" ContentType="application/vnd.openxmlformats-officedocument.drawingml.chart+xml"/>
  <Override PartName="/ppt/charts/chart132.xml" ContentType="application/vnd.openxmlformats-officedocument.drawingml.chart+xml"/>
  <Override PartName="/ppt/charts/style106.xml" ContentType="application/vnd.ms-office.chartstyle+xml"/>
  <Override PartName="/ppt/charts/colors106.xml" ContentType="application/vnd.ms-office.chartcolorstyle+xml"/>
  <Override PartName="/ppt/charts/chart133.xml" ContentType="application/vnd.openxmlformats-officedocument.drawingml.chart+xml"/>
  <Override PartName="/ppt/charts/style107.xml" ContentType="application/vnd.ms-office.chartstyle+xml"/>
  <Override PartName="/ppt/charts/colors107.xml" ContentType="application/vnd.ms-office.chartcolorstyle+xml"/>
  <Override PartName="/ppt/charts/chart134.xml" ContentType="application/vnd.openxmlformats-officedocument.drawingml.chart+xml"/>
  <Override PartName="/ppt/charts/style108.xml" ContentType="application/vnd.ms-office.chartstyle+xml"/>
  <Override PartName="/ppt/charts/colors108.xml" ContentType="application/vnd.ms-office.chartcolorstyle+xml"/>
  <Override PartName="/ppt/charts/chart135.xml" ContentType="application/vnd.openxmlformats-officedocument.drawingml.chart+xml"/>
  <Override PartName="/ppt/charts/chart136.xml" ContentType="application/vnd.openxmlformats-officedocument.drawingml.chart+xml"/>
  <Override PartName="/ppt/charts/style109.xml" ContentType="application/vnd.ms-office.chartstyle+xml"/>
  <Override PartName="/ppt/charts/colors109.xml" ContentType="application/vnd.ms-office.chartcolorstyle+xml"/>
  <Override PartName="/ppt/charts/chart137.xml" ContentType="application/vnd.openxmlformats-officedocument.drawingml.chart+xml"/>
  <Override PartName="/ppt/charts/style110.xml" ContentType="application/vnd.ms-office.chartstyle+xml"/>
  <Override PartName="/ppt/charts/colors110.xml" ContentType="application/vnd.ms-office.chartcolorstyle+xml"/>
  <Override PartName="/ppt/charts/chart138.xml" ContentType="application/vnd.openxmlformats-officedocument.drawingml.chart+xml"/>
  <Override PartName="/ppt/charts/style111.xml" ContentType="application/vnd.ms-office.chartstyle+xml"/>
  <Override PartName="/ppt/charts/colors111.xml" ContentType="application/vnd.ms-office.chartcolorstyle+xml"/>
  <Override PartName="/ppt/charts/chart139.xml" ContentType="application/vnd.openxmlformats-officedocument.drawingml.chart+xml"/>
  <Override PartName="/ppt/charts/chart140.xml" ContentType="application/vnd.openxmlformats-officedocument.drawingml.chart+xml"/>
  <Override PartName="/ppt/charts/style112.xml" ContentType="application/vnd.ms-office.chartstyle+xml"/>
  <Override PartName="/ppt/charts/colors112.xml" ContentType="application/vnd.ms-office.chartcolorstyle+xml"/>
  <Override PartName="/ppt/charts/chart141.xml" ContentType="application/vnd.openxmlformats-officedocument.drawingml.chart+xml"/>
  <Override PartName="/ppt/charts/style113.xml" ContentType="application/vnd.ms-office.chartstyle+xml"/>
  <Override PartName="/ppt/charts/colors113.xml" ContentType="application/vnd.ms-office.chartcolorstyle+xml"/>
  <Override PartName="/ppt/charts/chart142.xml" ContentType="application/vnd.openxmlformats-officedocument.drawingml.chart+xml"/>
  <Override PartName="/ppt/charts/style114.xml" ContentType="application/vnd.ms-office.chartstyle+xml"/>
  <Override PartName="/ppt/charts/colors114.xml" ContentType="application/vnd.ms-office.chartcolorstyle+xml"/>
  <Override PartName="/ppt/charts/chart143.xml" ContentType="application/vnd.openxmlformats-officedocument.drawingml.chart+xml"/>
  <Override PartName="/ppt/charts/chart144.xml" ContentType="application/vnd.openxmlformats-officedocument.drawingml.chart+xml"/>
  <Override PartName="/ppt/charts/style115.xml" ContentType="application/vnd.ms-office.chartstyle+xml"/>
  <Override PartName="/ppt/charts/colors115.xml" ContentType="application/vnd.ms-office.chartcolorstyle+xml"/>
  <Override PartName="/ppt/charts/chart145.xml" ContentType="application/vnd.openxmlformats-officedocument.drawingml.chart+xml"/>
  <Override PartName="/ppt/charts/style116.xml" ContentType="application/vnd.ms-office.chartstyle+xml"/>
  <Override PartName="/ppt/charts/colors116.xml" ContentType="application/vnd.ms-office.chartcolorstyle+xml"/>
  <Override PartName="/ppt/charts/chart146.xml" ContentType="application/vnd.openxmlformats-officedocument.drawingml.chart+xml"/>
  <Override PartName="/ppt/charts/style117.xml" ContentType="application/vnd.ms-office.chartstyle+xml"/>
  <Override PartName="/ppt/charts/colors117.xml" ContentType="application/vnd.ms-office.chartcolorstyle+xml"/>
  <Override PartName="/ppt/charts/chart147.xml" ContentType="application/vnd.openxmlformats-officedocument.drawingml.chart+xml"/>
  <Override PartName="/ppt/charts/chart148.xml" ContentType="application/vnd.openxmlformats-officedocument.drawingml.chart+xml"/>
  <Override PartName="/ppt/charts/style118.xml" ContentType="application/vnd.ms-office.chartstyle+xml"/>
  <Override PartName="/ppt/charts/colors118.xml" ContentType="application/vnd.ms-office.chartcolorstyle+xml"/>
  <Override PartName="/ppt/charts/chart149.xml" ContentType="application/vnd.openxmlformats-officedocument.drawingml.chart+xml"/>
  <Override PartName="/ppt/charts/style119.xml" ContentType="application/vnd.ms-office.chartstyle+xml"/>
  <Override PartName="/ppt/charts/colors119.xml" ContentType="application/vnd.ms-office.chartcolorstyle+xml"/>
  <Override PartName="/ppt/charts/chart150.xml" ContentType="application/vnd.openxmlformats-officedocument.drawingml.chart+xml"/>
  <Override PartName="/ppt/charts/style120.xml" ContentType="application/vnd.ms-office.chartstyle+xml"/>
  <Override PartName="/ppt/charts/colors120.xml" ContentType="application/vnd.ms-office.chartcolorstyle+xml"/>
  <Override PartName="/ppt/charts/chart151.xml" ContentType="application/vnd.openxmlformats-officedocument.drawingml.chart+xml"/>
  <Override PartName="/ppt/charts/chart152.xml" ContentType="application/vnd.openxmlformats-officedocument.drawingml.chart+xml"/>
  <Override PartName="/ppt/charts/style121.xml" ContentType="application/vnd.ms-office.chartstyle+xml"/>
  <Override PartName="/ppt/charts/colors121.xml" ContentType="application/vnd.ms-office.chartcolorstyle+xml"/>
  <Override PartName="/ppt/charts/chart153.xml" ContentType="application/vnd.openxmlformats-officedocument.drawingml.chart+xml"/>
  <Override PartName="/ppt/charts/style122.xml" ContentType="application/vnd.ms-office.chartstyle+xml"/>
  <Override PartName="/ppt/charts/colors122.xml" ContentType="application/vnd.ms-office.chartcolorstyle+xml"/>
  <Override PartName="/ppt/charts/chart154.xml" ContentType="application/vnd.openxmlformats-officedocument.drawingml.chart+xml"/>
  <Override PartName="/ppt/charts/style123.xml" ContentType="application/vnd.ms-office.chartstyle+xml"/>
  <Override PartName="/ppt/charts/colors123.xml" ContentType="application/vnd.ms-office.chartcolorstyle+xml"/>
  <Override PartName="/ppt/charts/chart155.xml" ContentType="application/vnd.openxmlformats-officedocument.drawingml.chart+xml"/>
  <Override PartName="/ppt/charts/chart156.xml" ContentType="application/vnd.openxmlformats-officedocument.drawingml.chart+xml"/>
  <Override PartName="/ppt/charts/style124.xml" ContentType="application/vnd.ms-office.chartstyle+xml"/>
  <Override PartName="/ppt/charts/colors124.xml" ContentType="application/vnd.ms-office.chartcolorstyle+xml"/>
  <Override PartName="/ppt/charts/chart157.xml" ContentType="application/vnd.openxmlformats-officedocument.drawingml.chart+xml"/>
  <Override PartName="/ppt/charts/style125.xml" ContentType="application/vnd.ms-office.chartstyle+xml"/>
  <Override PartName="/ppt/charts/colors125.xml" ContentType="application/vnd.ms-office.chartcolorstyle+xml"/>
  <Override PartName="/ppt/charts/chart158.xml" ContentType="application/vnd.openxmlformats-officedocument.drawingml.chart+xml"/>
  <Override PartName="/ppt/charts/style126.xml" ContentType="application/vnd.ms-office.chartstyle+xml"/>
  <Override PartName="/ppt/charts/colors126.xml" ContentType="application/vnd.ms-office.chartcolorstyle+xml"/>
  <Override PartName="/ppt/charts/chart159.xml" ContentType="application/vnd.openxmlformats-officedocument.drawingml.chart+xml"/>
  <Override PartName="/ppt/charts/chart160.xml" ContentType="application/vnd.openxmlformats-officedocument.drawingml.chart+xml"/>
  <Override PartName="/ppt/charts/style127.xml" ContentType="application/vnd.ms-office.chartstyle+xml"/>
  <Override PartName="/ppt/charts/colors127.xml" ContentType="application/vnd.ms-office.chartcolorstyle+xml"/>
  <Override PartName="/ppt/charts/chart161.xml" ContentType="application/vnd.openxmlformats-officedocument.drawingml.chart+xml"/>
  <Override PartName="/ppt/charts/style128.xml" ContentType="application/vnd.ms-office.chartstyle+xml"/>
  <Override PartName="/ppt/charts/colors128.xml" ContentType="application/vnd.ms-office.chartcolorstyle+xml"/>
  <Override PartName="/ppt/charts/chart162.xml" ContentType="application/vnd.openxmlformats-officedocument.drawingml.chart+xml"/>
  <Override PartName="/ppt/charts/style129.xml" ContentType="application/vnd.ms-office.chartstyle+xml"/>
  <Override PartName="/ppt/charts/colors129.xml" ContentType="application/vnd.ms-office.chartcolorstyle+xml"/>
  <Override PartName="/ppt/charts/chart163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1"/>
  </p:sldMasterIdLst>
  <p:notesMasterIdLst>
    <p:notesMasterId r:id="rId90"/>
  </p:notesMasterIdLst>
  <p:handoutMasterIdLst>
    <p:handoutMasterId r:id="rId91"/>
  </p:handoutMasterIdLst>
  <p:sldIdLst>
    <p:sldId id="261" r:id="rId2"/>
    <p:sldId id="399" r:id="rId3"/>
    <p:sldId id="303" r:id="rId4"/>
    <p:sldId id="326" r:id="rId5"/>
    <p:sldId id="327" r:id="rId6"/>
    <p:sldId id="352" r:id="rId7"/>
    <p:sldId id="394" r:id="rId8"/>
    <p:sldId id="395" r:id="rId9"/>
    <p:sldId id="305" r:id="rId10"/>
    <p:sldId id="306" r:id="rId11"/>
    <p:sldId id="357" r:id="rId12"/>
    <p:sldId id="307" r:id="rId13"/>
    <p:sldId id="358" r:id="rId14"/>
    <p:sldId id="308" r:id="rId15"/>
    <p:sldId id="359" r:id="rId16"/>
    <p:sldId id="309" r:id="rId17"/>
    <p:sldId id="360" r:id="rId18"/>
    <p:sldId id="310" r:id="rId19"/>
    <p:sldId id="361" r:id="rId20"/>
    <p:sldId id="311" r:id="rId21"/>
    <p:sldId id="362" r:id="rId22"/>
    <p:sldId id="312" r:id="rId23"/>
    <p:sldId id="363" r:id="rId24"/>
    <p:sldId id="313" r:id="rId25"/>
    <p:sldId id="364" r:id="rId26"/>
    <p:sldId id="314" r:id="rId27"/>
    <p:sldId id="365" r:id="rId28"/>
    <p:sldId id="315" r:id="rId29"/>
    <p:sldId id="366" r:id="rId30"/>
    <p:sldId id="316" r:id="rId31"/>
    <p:sldId id="367" r:id="rId32"/>
    <p:sldId id="317" r:id="rId33"/>
    <p:sldId id="368" r:id="rId34"/>
    <p:sldId id="318" r:id="rId35"/>
    <p:sldId id="369" r:id="rId36"/>
    <p:sldId id="319" r:id="rId37"/>
    <p:sldId id="370" r:id="rId38"/>
    <p:sldId id="320" r:id="rId39"/>
    <p:sldId id="371" r:id="rId40"/>
    <p:sldId id="321" r:id="rId41"/>
    <p:sldId id="372" r:id="rId42"/>
    <p:sldId id="322" r:id="rId43"/>
    <p:sldId id="373" r:id="rId44"/>
    <p:sldId id="323" r:id="rId45"/>
    <p:sldId id="374" r:id="rId46"/>
    <p:sldId id="324" r:id="rId47"/>
    <p:sldId id="356" r:id="rId48"/>
    <p:sldId id="325" r:id="rId49"/>
    <p:sldId id="354" r:id="rId50"/>
    <p:sldId id="328" r:id="rId51"/>
    <p:sldId id="329" r:id="rId52"/>
    <p:sldId id="376" r:id="rId53"/>
    <p:sldId id="330" r:id="rId54"/>
    <p:sldId id="377" r:id="rId55"/>
    <p:sldId id="331" r:id="rId56"/>
    <p:sldId id="378" r:id="rId57"/>
    <p:sldId id="332" r:id="rId58"/>
    <p:sldId id="379" r:id="rId59"/>
    <p:sldId id="393" r:id="rId60"/>
    <p:sldId id="380" r:id="rId61"/>
    <p:sldId id="333" r:id="rId62"/>
    <p:sldId id="381" r:id="rId63"/>
    <p:sldId id="334" r:id="rId64"/>
    <p:sldId id="382" r:id="rId65"/>
    <p:sldId id="335" r:id="rId66"/>
    <p:sldId id="383" r:id="rId67"/>
    <p:sldId id="336" r:id="rId68"/>
    <p:sldId id="384" r:id="rId69"/>
    <p:sldId id="337" r:id="rId70"/>
    <p:sldId id="385" r:id="rId71"/>
    <p:sldId id="338" r:id="rId72"/>
    <p:sldId id="386" r:id="rId73"/>
    <p:sldId id="339" r:id="rId74"/>
    <p:sldId id="387" r:id="rId75"/>
    <p:sldId id="340" r:id="rId76"/>
    <p:sldId id="388" r:id="rId77"/>
    <p:sldId id="341" r:id="rId78"/>
    <p:sldId id="389" r:id="rId79"/>
    <p:sldId id="342" r:id="rId80"/>
    <p:sldId id="390" r:id="rId81"/>
    <p:sldId id="343" r:id="rId82"/>
    <p:sldId id="391" r:id="rId83"/>
    <p:sldId id="344" r:id="rId84"/>
    <p:sldId id="392" r:id="rId85"/>
    <p:sldId id="345" r:id="rId86"/>
    <p:sldId id="375" r:id="rId87"/>
    <p:sldId id="346" r:id="rId88"/>
    <p:sldId id="353" r:id="rId89"/>
  </p:sldIdLst>
  <p:sldSz cx="12192000" cy="6858000"/>
  <p:notesSz cx="6797675" cy="9926638"/>
  <p:defaultTextStyle>
    <a:defPPr>
      <a:defRPr lang="en-US"/>
    </a:defPPr>
    <a:lvl1pPr marL="0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7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10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6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8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9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56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93" algn="l" defTabSz="91427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ynergy" initials="Co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68A3"/>
    <a:srgbClr val="BED1E3"/>
    <a:srgbClr val="CCE5D4"/>
    <a:srgbClr val="ECB2B2"/>
    <a:srgbClr val="F2F2F2"/>
    <a:srgbClr val="D9D9D9"/>
    <a:srgbClr val="9CC3E7"/>
    <a:srgbClr val="56A972"/>
    <a:srgbClr val="1E4E7A"/>
    <a:srgbClr val="0A112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45" autoAdjust="0"/>
    <p:restoredTop sz="95400" autoAdjust="0"/>
  </p:normalViewPr>
  <p:slideViewPr>
    <p:cSldViewPr snapToGrid="0">
      <p:cViewPr varScale="1">
        <p:scale>
          <a:sx n="105" d="100"/>
          <a:sy n="105" d="100"/>
        </p:scale>
        <p:origin x="834" y="114"/>
      </p:cViewPr>
      <p:guideLst>
        <p:guide orient="horz" pos="213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0" d="100"/>
          <a:sy n="60" d="100"/>
        </p:scale>
        <p:origin x="3202" y="5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84" Type="http://schemas.openxmlformats.org/officeDocument/2006/relationships/slide" Target="slides/slide83.xml"/><Relationship Id="rId89" Type="http://schemas.openxmlformats.org/officeDocument/2006/relationships/slide" Target="slides/slide88.xml"/><Relationship Id="rId16" Type="http://schemas.openxmlformats.org/officeDocument/2006/relationships/slide" Target="slides/slide15.xml"/><Relationship Id="rId11" Type="http://schemas.openxmlformats.org/officeDocument/2006/relationships/slide" Target="slides/slide10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74" Type="http://schemas.openxmlformats.org/officeDocument/2006/relationships/slide" Target="slides/slide73.xml"/><Relationship Id="rId79" Type="http://schemas.openxmlformats.org/officeDocument/2006/relationships/slide" Target="slides/slide78.xml"/><Relationship Id="rId5" Type="http://schemas.openxmlformats.org/officeDocument/2006/relationships/slide" Target="slides/slide4.xml"/><Relationship Id="rId90" Type="http://schemas.openxmlformats.org/officeDocument/2006/relationships/notesMaster" Target="notesMasters/notesMaster1.xml"/><Relationship Id="rId95" Type="http://schemas.openxmlformats.org/officeDocument/2006/relationships/theme" Target="theme/theme1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80" Type="http://schemas.openxmlformats.org/officeDocument/2006/relationships/slide" Target="slides/slide79.xml"/><Relationship Id="rId85" Type="http://schemas.openxmlformats.org/officeDocument/2006/relationships/slide" Target="slides/slide84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slide" Target="slides/slide82.xml"/><Relationship Id="rId88" Type="http://schemas.openxmlformats.org/officeDocument/2006/relationships/slide" Target="slides/slide87.xml"/><Relationship Id="rId91" Type="http://schemas.openxmlformats.org/officeDocument/2006/relationships/handoutMaster" Target="handoutMasters/handoutMaster1.xml"/><Relationship Id="rId9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slide" Target="slides/slide80.xml"/><Relationship Id="rId86" Type="http://schemas.openxmlformats.org/officeDocument/2006/relationships/slide" Target="slides/slide85.xml"/><Relationship Id="rId9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76" Type="http://schemas.openxmlformats.org/officeDocument/2006/relationships/slide" Target="slides/slide75.xml"/><Relationship Id="rId97" Type="http://schemas.microsoft.com/office/2016/11/relationships/changesInfo" Target="changesInfos/changesInfo1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92" Type="http://schemas.openxmlformats.org/officeDocument/2006/relationships/commentAuthors" Target="commentAuthors.xml"/><Relationship Id="rId2" Type="http://schemas.openxmlformats.org/officeDocument/2006/relationships/slide" Target="slides/slide1.xml"/><Relationship Id="rId29" Type="http://schemas.openxmlformats.org/officeDocument/2006/relationships/slide" Target="slides/slide28.xml"/><Relationship Id="rId24" Type="http://schemas.openxmlformats.org/officeDocument/2006/relationships/slide" Target="slides/slide23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66" Type="http://schemas.openxmlformats.org/officeDocument/2006/relationships/slide" Target="slides/slide65.xml"/><Relationship Id="rId87" Type="http://schemas.openxmlformats.org/officeDocument/2006/relationships/slide" Target="slides/slide86.xml"/><Relationship Id="rId61" Type="http://schemas.openxmlformats.org/officeDocument/2006/relationships/slide" Target="slides/slide60.xml"/><Relationship Id="rId82" Type="http://schemas.openxmlformats.org/officeDocument/2006/relationships/slide" Target="slides/slide81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56" Type="http://schemas.openxmlformats.org/officeDocument/2006/relationships/slide" Target="slides/slide55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93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mitriy Shumekov" userId="ffbf198107bbd5ce" providerId="LiveId" clId="{4D67C7A2-FE00-4525-AF5E-9335BFF471AC}"/>
    <pc:docChg chg="undo redo custSel addSld delSld modSld sldOrd modMainMaster">
      <pc:chgData name="Dmitriy Shumekov" userId="ffbf198107bbd5ce" providerId="LiveId" clId="{4D67C7A2-FE00-4525-AF5E-9335BFF471AC}" dt="2025-02-06T06:31:44.024" v="8774"/>
      <pc:docMkLst>
        <pc:docMk/>
      </pc:docMkLst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377506891" sldId="260"/>
        </pc:sldMkLst>
      </pc:sldChg>
      <pc:sldChg chg="modSp mod">
        <pc:chgData name="Dmitriy Shumekov" userId="ffbf198107bbd5ce" providerId="LiveId" clId="{4D67C7A2-FE00-4525-AF5E-9335BFF471AC}" dt="2025-01-13T10:11:54.285" v="133" actId="20577"/>
        <pc:sldMkLst>
          <pc:docMk/>
          <pc:sldMk cId="3132684704" sldId="261"/>
        </pc:sldMkLst>
        <pc:spChg chg="mod">
          <ac:chgData name="Dmitriy Shumekov" userId="ffbf198107bbd5ce" providerId="LiveId" clId="{4D67C7A2-FE00-4525-AF5E-9335BFF471AC}" dt="2025-01-13T10:11:54.285" v="133" actId="20577"/>
          <ac:spMkLst>
            <pc:docMk/>
            <pc:sldMk cId="3132684704" sldId="261"/>
            <ac:spMk id="2" creationId="{6ACEEA90-EDF0-E609-08E0-CC70AB569296}"/>
          </ac:spMkLst>
        </pc:spChg>
      </pc:sldChg>
      <pc:sldChg chg="modSp del">
        <pc:chgData name="Dmitriy Shumekov" userId="ffbf198107bbd5ce" providerId="LiveId" clId="{4D67C7A2-FE00-4525-AF5E-9335BFF471AC}" dt="2025-02-03T12:47:42.977" v="8206" actId="47"/>
        <pc:sldMkLst>
          <pc:docMk/>
          <pc:sldMk cId="3197697937" sldId="262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240906678" sldId="263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186385688" sldId="264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719772495" sldId="26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040911916" sldId="26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789353703" sldId="26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917979859" sldId="27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058508086" sldId="274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355036860" sldId="275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417283220" sldId="27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180500947" sldId="27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207578904" sldId="27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183580997" sldId="279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459787683" sldId="280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4112066531" sldId="28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607126973" sldId="282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477852929" sldId="28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899066720" sldId="28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689033675" sldId="28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813946085" sldId="289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4028670041" sldId="290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943311564" sldId="29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602931839" sldId="292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231699281" sldId="293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762061706" sldId="294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354412729" sldId="295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3187524457" sldId="296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020400125" sldId="297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890896887" sldId="298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1063566101" sldId="299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874728498" sldId="300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654524856" sldId="301"/>
        </pc:sldMkLst>
      </pc:sldChg>
      <pc:sldChg chg="del">
        <pc:chgData name="Dmitriy Shumekov" userId="ffbf198107bbd5ce" providerId="LiveId" clId="{4D67C7A2-FE00-4525-AF5E-9335BFF471AC}" dt="2025-01-13T10:09:15.761" v="1" actId="47"/>
        <pc:sldMkLst>
          <pc:docMk/>
          <pc:sldMk cId="2031556343" sldId="302"/>
        </pc:sldMkLst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2550715541" sldId="303"/>
        </pc:sldMkLst>
        <pc:spChg chg="mod">
          <ac:chgData name="Dmitriy Shumekov" userId="ffbf198107bbd5ce" providerId="LiveId" clId="{4D67C7A2-FE00-4525-AF5E-9335BFF471AC}" dt="2025-01-14T05:55:52.060" v="2132" actId="20577"/>
          <ac:spMkLst>
            <pc:docMk/>
            <pc:sldMk cId="2550715541" sldId="303"/>
            <ac:spMk id="2" creationId="{4B210664-1839-10C0-BEF8-08CD07054E82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550715541" sldId="303"/>
            <ac:spMk id="3" creationId="{0DA8DA06-748C-7EDB-6D75-9CA1C1F8543F}"/>
          </ac:spMkLst>
        </pc:spChg>
        <pc:spChg chg="add mod">
          <ac:chgData name="Dmitriy Shumekov" userId="ffbf198107bbd5ce" providerId="LiveId" clId="{4D67C7A2-FE00-4525-AF5E-9335BFF471AC}" dt="2025-01-14T05:28:08.934" v="1824" actId="207"/>
          <ac:spMkLst>
            <pc:docMk/>
            <pc:sldMk cId="2550715541" sldId="303"/>
            <ac:spMk id="4" creationId="{3FEC1BE0-048C-0910-0DD8-1204F2128A95}"/>
          </ac:spMkLst>
        </pc:spChg>
        <pc:spChg chg="add mod">
          <ac:chgData name="Dmitriy Shumekov" userId="ffbf198107bbd5ce" providerId="LiveId" clId="{4D67C7A2-FE00-4525-AF5E-9335BFF471AC}" dt="2025-01-14T05:27:33.429" v="1819" actId="208"/>
          <ac:spMkLst>
            <pc:docMk/>
            <pc:sldMk cId="2550715541" sldId="303"/>
            <ac:spMk id="5" creationId="{8F8A2E9A-FE4C-FA67-4B48-1ABD96B3C54F}"/>
          </ac:spMkLst>
        </pc:spChg>
        <pc:spChg chg="add mod">
          <ac:chgData name="Dmitriy Shumekov" userId="ffbf198107bbd5ce" providerId="LiveId" clId="{4D67C7A2-FE00-4525-AF5E-9335BFF471AC}" dt="2025-01-14T05:27:46.910" v="1821" actId="207"/>
          <ac:spMkLst>
            <pc:docMk/>
            <pc:sldMk cId="2550715541" sldId="303"/>
            <ac:spMk id="6" creationId="{66BF96E6-E745-A37E-B5C4-D185DB3295C6}"/>
          </ac:spMkLst>
        </pc:spChg>
        <pc:spChg chg="add mod">
          <ac:chgData name="Dmitriy Shumekov" userId="ffbf198107bbd5ce" providerId="LiveId" clId="{4D67C7A2-FE00-4525-AF5E-9335BFF471AC}" dt="2025-01-14T05:32:52.848" v="1871" actId="403"/>
          <ac:spMkLst>
            <pc:docMk/>
            <pc:sldMk cId="2550715541" sldId="303"/>
            <ac:spMk id="9" creationId="{1F9E627F-E3C6-1ADF-6DA5-9336D37CE365}"/>
          </ac:spMkLst>
        </pc:spChg>
        <pc:spChg chg="add mod">
          <ac:chgData name="Dmitriy Shumekov" userId="ffbf198107bbd5ce" providerId="LiveId" clId="{4D67C7A2-FE00-4525-AF5E-9335BFF471AC}" dt="2025-01-14T05:32:45.723" v="1869" actId="403"/>
          <ac:spMkLst>
            <pc:docMk/>
            <pc:sldMk cId="2550715541" sldId="303"/>
            <ac:spMk id="11" creationId="{3120CE43-B631-E6A7-43E4-D3B0EBC79AFE}"/>
          </ac:spMkLst>
        </pc:spChg>
        <pc:spChg chg="add mod">
          <ac:chgData name="Dmitriy Shumekov" userId="ffbf198107bbd5ce" providerId="LiveId" clId="{4D67C7A2-FE00-4525-AF5E-9335BFF471AC}" dt="2025-01-29T13:02:04.831" v="7557" actId="20577"/>
          <ac:spMkLst>
            <pc:docMk/>
            <pc:sldMk cId="2550715541" sldId="303"/>
            <ac:spMk id="12" creationId="{C20EE30C-7EE4-D3DE-01B5-745535317A3A}"/>
          </ac:spMkLst>
        </pc:spChg>
        <pc:spChg chg="add mod">
          <ac:chgData name="Dmitriy Shumekov" userId="ffbf198107bbd5ce" providerId="LiveId" clId="{4D67C7A2-FE00-4525-AF5E-9335BFF471AC}" dt="2025-01-14T05:55:56.725" v="2148" actId="20577"/>
          <ac:spMkLst>
            <pc:docMk/>
            <pc:sldMk cId="2550715541" sldId="303"/>
            <ac:spMk id="13" creationId="{DB6C02EB-541A-E93A-2E5A-9D5C5D4CE32A}"/>
          </ac:spMkLst>
        </pc:spChg>
        <pc:spChg chg="add mod">
          <ac:chgData name="Dmitriy Shumekov" userId="ffbf198107bbd5ce" providerId="LiveId" clId="{4D67C7A2-FE00-4525-AF5E-9335BFF471AC}" dt="2025-01-14T05:34:42.302" v="1996" actId="1076"/>
          <ac:spMkLst>
            <pc:docMk/>
            <pc:sldMk cId="2550715541" sldId="303"/>
            <ac:spMk id="14" creationId="{79D0E681-C7BB-6C88-11FE-4D0E71CAF467}"/>
          </ac:spMkLst>
        </pc:spChg>
        <pc:spChg chg="add mod">
          <ac:chgData name="Dmitriy Shumekov" userId="ffbf198107bbd5ce" providerId="LiveId" clId="{4D67C7A2-FE00-4525-AF5E-9335BFF471AC}" dt="2025-01-14T05:34:42.302" v="1996" actId="1076"/>
          <ac:spMkLst>
            <pc:docMk/>
            <pc:sldMk cId="2550715541" sldId="303"/>
            <ac:spMk id="15" creationId="{65834F22-3DF2-B138-8DBF-E083F313B980}"/>
          </ac:spMkLst>
        </pc:spChg>
        <pc:spChg chg="add mod">
          <ac:chgData name="Dmitriy Shumekov" userId="ffbf198107bbd5ce" providerId="LiveId" clId="{4D67C7A2-FE00-4525-AF5E-9335BFF471AC}" dt="2025-01-14T12:35:32.311" v="3989" actId="14100"/>
          <ac:spMkLst>
            <pc:docMk/>
            <pc:sldMk cId="2550715541" sldId="303"/>
            <ac:spMk id="26" creationId="{EE3611DE-D652-EEE1-61E3-992C32AF288D}"/>
          </ac:spMkLst>
        </pc:spChg>
        <pc:spChg chg="add mod">
          <ac:chgData name="Dmitriy Shumekov" userId="ffbf198107bbd5ce" providerId="LiveId" clId="{4D67C7A2-FE00-4525-AF5E-9335BFF471AC}" dt="2025-01-14T12:35:39.179" v="4001" actId="20577"/>
          <ac:spMkLst>
            <pc:docMk/>
            <pc:sldMk cId="2550715541" sldId="303"/>
            <ac:spMk id="28" creationId="{E6B1CDA8-31B2-9980-372C-6D83D2A2EFD9}"/>
          </ac:spMkLst>
        </pc:spChg>
        <pc:graphicFrameChg chg="add mod">
          <ac:chgData name="Dmitriy Shumekov" userId="ffbf198107bbd5ce" providerId="LiveId" clId="{4D67C7A2-FE00-4525-AF5E-9335BFF471AC}" dt="2025-01-14T05:51:11.675" v="2090" actId="403"/>
          <ac:graphicFrameMkLst>
            <pc:docMk/>
            <pc:sldMk cId="2550715541" sldId="303"/>
            <ac:graphicFrameMk id="24" creationId="{1122B60F-FB0C-C6B1-923D-7C5577E1F2B5}"/>
          </ac:graphicFrameMkLst>
        </pc:graphicFrameChg>
        <pc:graphicFrameChg chg="add mod">
          <ac:chgData name="Dmitriy Shumekov" userId="ffbf198107bbd5ce" providerId="LiveId" clId="{4D67C7A2-FE00-4525-AF5E-9335BFF471AC}" dt="2025-01-15T12:38:04.226" v="4023" actId="14100"/>
          <ac:graphicFrameMkLst>
            <pc:docMk/>
            <pc:sldMk cId="2550715541" sldId="303"/>
            <ac:graphicFrameMk id="25" creationId="{4FE67DA8-3CE9-F82D-95B5-3EAE72BEF6B6}"/>
          </ac:graphicFrameMkLst>
        </pc:graphicFrameChg>
        <pc:graphicFrameChg chg="add mod">
          <ac:chgData name="Dmitriy Shumekov" userId="ffbf198107bbd5ce" providerId="LiveId" clId="{4D67C7A2-FE00-4525-AF5E-9335BFF471AC}" dt="2025-01-14T06:02:37.955" v="2199"/>
          <ac:graphicFrameMkLst>
            <pc:docMk/>
            <pc:sldMk cId="2550715541" sldId="303"/>
            <ac:graphicFrameMk id="27" creationId="{D1709341-E08B-3454-1C8C-E3A5F7FDF52F}"/>
          </ac:graphicFrameMkLst>
        </pc:graphicFrameChg>
        <pc:graphicFrameChg chg="add mod modGraphic">
          <ac:chgData name="Dmitriy Shumekov" userId="ffbf198107bbd5ce" providerId="LiveId" clId="{4D67C7A2-FE00-4525-AF5E-9335BFF471AC}" dt="2025-01-14T06:06:48.386" v="2295"/>
          <ac:graphicFrameMkLst>
            <pc:docMk/>
            <pc:sldMk cId="2550715541" sldId="303"/>
            <ac:graphicFrameMk id="29" creationId="{7ED756CC-2887-7C52-2247-0C447227CFA5}"/>
          </ac:graphicFrameMkLst>
        </pc:graphicFrameChg>
        <pc:graphicFrameChg chg="add mod modGraphic">
          <ac:chgData name="Dmitriy Shumekov" userId="ffbf198107bbd5ce" providerId="LiveId" clId="{4D67C7A2-FE00-4525-AF5E-9335BFF471AC}" dt="2025-01-14T06:07:33.976" v="2349" actId="20577"/>
          <ac:graphicFrameMkLst>
            <pc:docMk/>
            <pc:sldMk cId="2550715541" sldId="303"/>
            <ac:graphicFrameMk id="30" creationId="{F497777B-4EFF-215A-E0B3-EA23E097FAA0}"/>
          </ac:graphicFrameMkLst>
        </pc:graphicFrameChg>
        <pc:cxnChg chg="add mod">
          <ac:chgData name="Dmitriy Shumekov" userId="ffbf198107bbd5ce" providerId="LiveId" clId="{4D67C7A2-FE00-4525-AF5E-9335BFF471AC}" dt="2025-01-14T05:34:23.369" v="1990" actId="14100"/>
          <ac:cxnSpMkLst>
            <pc:docMk/>
            <pc:sldMk cId="2550715541" sldId="303"/>
            <ac:cxnSpMk id="16" creationId="{7A7D2FA6-A458-7E32-AAB8-D6C69B2BED51}"/>
          </ac:cxnSpMkLst>
        </pc:cxnChg>
        <pc:cxnChg chg="add mod">
          <ac:chgData name="Dmitriy Shumekov" userId="ffbf198107bbd5ce" providerId="LiveId" clId="{4D67C7A2-FE00-4525-AF5E-9335BFF471AC}" dt="2025-01-14T05:34:27.368" v="1992" actId="14100"/>
          <ac:cxnSpMkLst>
            <pc:docMk/>
            <pc:sldMk cId="2550715541" sldId="303"/>
            <ac:cxnSpMk id="20" creationId="{3CF2E162-6295-92FD-A8BC-1795D1867344}"/>
          </ac:cxnSpMkLst>
        </pc:cxnChg>
        <pc:cxnChg chg="add mod">
          <ac:chgData name="Dmitriy Shumekov" userId="ffbf198107bbd5ce" providerId="LiveId" clId="{4D67C7A2-FE00-4525-AF5E-9335BFF471AC}" dt="2025-01-14T05:34:30.603" v="1994" actId="14100"/>
          <ac:cxnSpMkLst>
            <pc:docMk/>
            <pc:sldMk cId="2550715541" sldId="303"/>
            <ac:cxnSpMk id="22" creationId="{84CD96C7-59D5-F5A2-A312-BAF7D5AAC7DB}"/>
          </ac:cxnSpMkLst>
        </pc:cxnChg>
        <pc:cxnChg chg="add mod">
          <ac:chgData name="Dmitriy Shumekov" userId="ffbf198107bbd5ce" providerId="LiveId" clId="{4D67C7A2-FE00-4525-AF5E-9335BFF471AC}" dt="2025-01-14T06:08:01.440" v="2351" actId="14100"/>
          <ac:cxnSpMkLst>
            <pc:docMk/>
            <pc:sldMk cId="2550715541" sldId="303"/>
            <ac:cxnSpMk id="31" creationId="{CC193DC5-5E57-808F-5475-12832C1774CA}"/>
          </ac:cxnSpMkLst>
        </pc:cxnChg>
        <pc:cxnChg chg="add mod">
          <ac:chgData name="Dmitriy Shumekov" userId="ffbf198107bbd5ce" providerId="LiveId" clId="{4D67C7A2-FE00-4525-AF5E-9335BFF471AC}" dt="2025-01-14T06:08:42.097" v="2358" actId="14100"/>
          <ac:cxnSpMkLst>
            <pc:docMk/>
            <pc:sldMk cId="2550715541" sldId="303"/>
            <ac:cxnSpMk id="33" creationId="{C066BE77-FD6B-355C-9541-65557C6841D0}"/>
          </ac:cxnSpMkLst>
        </pc:cxnChg>
      </pc:sldChg>
      <pc:sldChg chg="modSp add del mod">
        <pc:chgData name="Dmitriy Shumekov" userId="ffbf198107bbd5ce" providerId="LiveId" clId="{4D67C7A2-FE00-4525-AF5E-9335BFF471AC}" dt="2025-01-14T12:08:18.952" v="3961" actId="47"/>
        <pc:sldMkLst>
          <pc:docMk/>
          <pc:sldMk cId="4150220028" sldId="304"/>
        </pc:sldMkLst>
      </pc:sldChg>
      <pc:sldChg chg="addSp delSp modSp add mod modClrScheme chgLayout">
        <pc:chgData name="Dmitriy Shumekov" userId="ffbf198107bbd5ce" providerId="LiveId" clId="{4D67C7A2-FE00-4525-AF5E-9335BFF471AC}" dt="2025-01-14T07:01:38.900" v="2842" actId="478"/>
        <pc:sldMkLst>
          <pc:docMk/>
          <pc:sldMk cId="3789146471" sldId="305"/>
        </pc:sldMkLst>
        <pc:spChg chg="add mod">
          <ac:chgData name="Dmitriy Shumekov" userId="ffbf198107bbd5ce" providerId="LiveId" clId="{4D67C7A2-FE00-4525-AF5E-9335BFF471AC}" dt="2025-01-14T07:01:27.209" v="2840" actId="404"/>
          <ac:spMkLst>
            <pc:docMk/>
            <pc:sldMk cId="3789146471" sldId="305"/>
            <ac:spMk id="6" creationId="{CFEB6682-7B60-19D7-8A15-BD8C1D476792}"/>
          </ac:spMkLst>
        </pc:sp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121643758" sldId="306"/>
        </pc:sldMkLst>
        <pc:spChg chg="mod">
          <ac:chgData name="Dmitriy Shumekov" userId="ffbf198107bbd5ce" providerId="LiveId" clId="{4D67C7A2-FE00-4525-AF5E-9335BFF471AC}" dt="2025-01-27T12:34:31.054" v="6122" actId="20577"/>
          <ac:spMkLst>
            <pc:docMk/>
            <pc:sldMk cId="2121643758" sldId="306"/>
            <ac:spMk id="2" creationId="{AB20BBDD-27F9-C772-11A3-F0379D96E4D6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21643758" sldId="306"/>
            <ac:spMk id="3" creationId="{E9B73B53-8823-F855-DB13-0D29BE4AC35A}"/>
          </ac:spMkLst>
        </pc:spChg>
        <pc:spChg chg="add mod">
          <ac:chgData name="Dmitriy Shumekov" userId="ffbf198107bbd5ce" providerId="LiveId" clId="{4D67C7A2-FE00-4525-AF5E-9335BFF471AC}" dt="2025-01-13T11:29:59.107" v="641" actId="1076"/>
          <ac:spMkLst>
            <pc:docMk/>
            <pc:sldMk cId="2121643758" sldId="306"/>
            <ac:spMk id="4" creationId="{8CAA0F36-0C8C-120B-E137-EC0F30BC9490}"/>
          </ac:spMkLst>
        </pc:spChg>
        <pc:spChg chg="add mod">
          <ac:chgData name="Dmitriy Shumekov" userId="ffbf198107bbd5ce" providerId="LiveId" clId="{4D67C7A2-FE00-4525-AF5E-9335BFF471AC}" dt="2025-01-13T10:51:50.620" v="580" actId="1076"/>
          <ac:spMkLst>
            <pc:docMk/>
            <pc:sldMk cId="2121643758" sldId="306"/>
            <ac:spMk id="5" creationId="{BCCBB5D8-89E3-A0EB-3C62-86506564D3D1}"/>
          </ac:spMkLst>
        </pc:spChg>
        <pc:spChg chg="add mod">
          <ac:chgData name="Dmitriy Shumekov" userId="ffbf198107bbd5ce" providerId="LiveId" clId="{4D67C7A2-FE00-4525-AF5E-9335BFF471AC}" dt="2025-01-13T11:29:59.107" v="641" actId="1076"/>
          <ac:spMkLst>
            <pc:docMk/>
            <pc:sldMk cId="2121643758" sldId="306"/>
            <ac:spMk id="9" creationId="{0CCFBCF4-D356-6F8C-E90E-3EC49B1144E3}"/>
          </ac:spMkLst>
        </pc:spChg>
        <pc:spChg chg="add mod">
          <ac:chgData name="Dmitriy Shumekov" userId="ffbf198107bbd5ce" providerId="LiveId" clId="{4D67C7A2-FE00-4525-AF5E-9335BFF471AC}" dt="2025-01-13T11:00:25.872" v="639" actId="1076"/>
          <ac:spMkLst>
            <pc:docMk/>
            <pc:sldMk cId="2121643758" sldId="306"/>
            <ac:spMk id="10" creationId="{94998730-F785-0662-69C3-DD7C661C0171}"/>
          </ac:spMkLst>
        </pc:spChg>
        <pc:spChg chg="add mod">
          <ac:chgData name="Dmitriy Shumekov" userId="ffbf198107bbd5ce" providerId="LiveId" clId="{4D67C7A2-FE00-4525-AF5E-9335BFF471AC}" dt="2025-01-13T11:29:59.107" v="641" actId="1076"/>
          <ac:spMkLst>
            <pc:docMk/>
            <pc:sldMk cId="2121643758" sldId="306"/>
            <ac:spMk id="11" creationId="{80BBB920-CF83-C4E3-6515-BF69BBAB73AC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18" creationId="{5FB5F7DF-3572-F827-279C-E10F90CCF59E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19" creationId="{7455C64A-4AB4-7A4B-F715-B91FEF2A7938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22" creationId="{7E974AFD-FB8E-25F3-52A4-EB995440C8F8}"/>
          </ac:spMkLst>
        </pc:spChg>
        <pc:spChg chg="add mod">
          <ac:chgData name="Dmitriy Shumekov" userId="ffbf198107bbd5ce" providerId="LiveId" clId="{4D67C7A2-FE00-4525-AF5E-9335BFF471AC}" dt="2025-01-13T11:30:52.227" v="647" actId="1076"/>
          <ac:spMkLst>
            <pc:docMk/>
            <pc:sldMk cId="2121643758" sldId="306"/>
            <ac:spMk id="24" creationId="{FCBE3F3E-6D3B-4588-A97C-8719C3B5AA02}"/>
          </ac:spMkLst>
        </pc:spChg>
        <pc:graphicFrameChg chg="add mod">
          <ac:chgData name="Dmitriy Shumekov" userId="ffbf198107bbd5ce" providerId="LiveId" clId="{4D67C7A2-FE00-4525-AF5E-9335BFF471AC}" dt="2025-01-13T11:30:52.227" v="647" actId="1076"/>
          <ac:graphicFrameMkLst>
            <pc:docMk/>
            <pc:sldMk cId="2121643758" sldId="306"/>
            <ac:graphicFrameMk id="13" creationId="{2C37EEB4-E812-9D5E-07B2-36FF0C9E7BFA}"/>
          </ac:graphicFrameMkLst>
        </pc:graphicFrameChg>
        <pc:graphicFrameChg chg="add mod">
          <ac:chgData name="Dmitriy Shumekov" userId="ffbf198107bbd5ce" providerId="LiveId" clId="{4D67C7A2-FE00-4525-AF5E-9335BFF471AC}" dt="2025-01-13T10:51:54.267" v="581" actId="207"/>
          <ac:graphicFrameMkLst>
            <pc:docMk/>
            <pc:sldMk cId="2121643758" sldId="306"/>
            <ac:graphicFrameMk id="14" creationId="{4CB210B9-65D4-67C7-0038-12B34887A272}"/>
          </ac:graphicFrameMkLst>
        </pc:graphicFrameChg>
        <pc:graphicFrameChg chg="add mod">
          <ac:chgData name="Dmitriy Shumekov" userId="ffbf198107bbd5ce" providerId="LiveId" clId="{4D67C7A2-FE00-4525-AF5E-9335BFF471AC}" dt="2025-01-13T11:30:52.227" v="647" actId="1076"/>
          <ac:graphicFrameMkLst>
            <pc:docMk/>
            <pc:sldMk cId="2121643758" sldId="306"/>
            <ac:graphicFrameMk id="17" creationId="{A2644571-C6C2-31ED-0327-2860E8F41B45}"/>
          </ac:graphicFrameMkLst>
        </pc:graphicFrameChg>
        <pc:graphicFrameChg chg="add mod">
          <ac:chgData name="Dmitriy Shumekov" userId="ffbf198107bbd5ce" providerId="LiveId" clId="{4D67C7A2-FE00-4525-AF5E-9335BFF471AC}" dt="2025-01-13T11:00:25.872" v="639" actId="1076"/>
          <ac:graphicFrameMkLst>
            <pc:docMk/>
            <pc:sldMk cId="2121643758" sldId="306"/>
            <ac:graphicFrameMk id="30" creationId="{62766184-B76E-56D4-F842-44F65F2183A4}"/>
          </ac:graphicFrameMkLst>
        </pc:graphicFrameChg>
        <pc:graphicFrameChg chg="add mod modGraphic">
          <ac:chgData name="Dmitriy Shumekov" userId="ffbf198107bbd5ce" providerId="LiveId" clId="{4D67C7A2-FE00-4525-AF5E-9335BFF471AC}" dt="2025-01-13T11:00:25.872" v="639" actId="1076"/>
          <ac:graphicFrameMkLst>
            <pc:docMk/>
            <pc:sldMk cId="2121643758" sldId="306"/>
            <ac:graphicFrameMk id="31" creationId="{C4D0F1FE-C51B-616B-8D26-431606A4B62E}"/>
          </ac:graphicFrameMkLst>
        </pc:graphicFrameChg>
        <pc:graphicFrameChg chg="add mod modGraphic">
          <ac:chgData name="Dmitriy Shumekov" userId="ffbf198107bbd5ce" providerId="LiveId" clId="{4D67C7A2-FE00-4525-AF5E-9335BFF471AC}" dt="2025-01-13T11:46:05.267" v="1091"/>
          <ac:graphicFrameMkLst>
            <pc:docMk/>
            <pc:sldMk cId="2121643758" sldId="306"/>
            <ac:graphicFrameMk id="34" creationId="{0CA16456-9208-4E10-EAD3-76D0ED33DA4C}"/>
          </ac:graphicFrameMkLst>
        </pc:graphicFrameChg>
        <pc:cxnChg chg="add mod">
          <ac:chgData name="Dmitriy Shumekov" userId="ffbf198107bbd5ce" providerId="LiveId" clId="{4D67C7A2-FE00-4525-AF5E-9335BFF471AC}" dt="2025-01-13T11:00:19.493" v="638" actId="1076"/>
          <ac:cxnSpMkLst>
            <pc:docMk/>
            <pc:sldMk cId="2121643758" sldId="306"/>
            <ac:cxnSpMk id="7" creationId="{0C45A3A8-EF38-F8BB-9BA1-558EEBB95B81}"/>
          </ac:cxnSpMkLst>
        </pc:cxnChg>
        <pc:cxnChg chg="add mod">
          <ac:chgData name="Dmitriy Shumekov" userId="ffbf198107bbd5ce" providerId="LiveId" clId="{4D67C7A2-FE00-4525-AF5E-9335BFF471AC}" dt="2025-01-13T11:00:25.872" v="639" actId="1076"/>
          <ac:cxnSpMkLst>
            <pc:docMk/>
            <pc:sldMk cId="2121643758" sldId="306"/>
            <ac:cxnSpMk id="8" creationId="{257D9529-E987-99BC-C304-449664F9A33A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562896196" sldId="307"/>
        </pc:sldMkLst>
        <pc:spChg chg="mod">
          <ac:chgData name="Dmitriy Shumekov" userId="ffbf198107bbd5ce" providerId="LiveId" clId="{4D67C7A2-FE00-4525-AF5E-9335BFF471AC}" dt="2025-01-27T12:34:34.595" v="6123"/>
          <ac:spMkLst>
            <pc:docMk/>
            <pc:sldMk cId="1562896196" sldId="307"/>
            <ac:spMk id="2" creationId="{730DDFE9-AAC0-B4C4-9BA3-08D38F2ED6F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562896196" sldId="307"/>
            <ac:spMk id="3" creationId="{82945870-5EA6-657B-2F7B-29A1F80334DE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35" creationId="{BFDC4C6E-EE9B-03D8-55F0-B6DBBBABC9F4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36" creationId="{3DB2D55B-48B3-FCEE-6D48-C483A05226B0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39" creationId="{3DF923D7-4658-84FA-5713-675569634DBA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0" creationId="{F46DC90C-D204-BE7E-B455-01973DEC5FC5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1" creationId="{CCC7174B-7F5C-980C-FFE5-8A323E44F431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5" creationId="{EC333A85-704A-686F-FEE5-93CA4A20F84F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6" creationId="{2553E3CB-DE16-086E-E013-A111C8EA2F64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7" creationId="{F4315245-DEB1-D05F-FCA0-BAE9953AE215}"/>
          </ac:spMkLst>
        </pc:spChg>
        <pc:spChg chg="add mod">
          <ac:chgData name="Dmitriy Shumekov" userId="ffbf198107bbd5ce" providerId="LiveId" clId="{4D67C7A2-FE00-4525-AF5E-9335BFF471AC}" dt="2025-01-13T11:34:07.059" v="932"/>
          <ac:spMkLst>
            <pc:docMk/>
            <pc:sldMk cId="1562896196" sldId="307"/>
            <ac:spMk id="48" creationId="{E4337C7C-ACAE-B457-6BE0-0CA970E91F3C}"/>
          </ac:spMkLst>
        </pc:sp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42" creationId="{DBC9C900-B24D-F2ED-0070-B6088F931A71}"/>
          </ac:graphicFrameMkLst>
        </pc:graphicFrame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43" creationId="{00D6782C-BD56-0F2F-360C-7266A238462A}"/>
          </ac:graphicFrameMkLst>
        </pc:graphicFrame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44" creationId="{C53D1304-B4A7-F467-AF4F-E820454038F3}"/>
          </ac:graphicFrameMkLst>
        </pc:graphicFrameChg>
        <pc:graphicFrameChg chg="add mod">
          <ac:chgData name="Dmitriy Shumekov" userId="ffbf198107bbd5ce" providerId="LiveId" clId="{4D67C7A2-FE00-4525-AF5E-9335BFF471AC}" dt="2025-01-13T11:36:35.901" v="978" actId="1076"/>
          <ac:graphicFrameMkLst>
            <pc:docMk/>
            <pc:sldMk cId="1562896196" sldId="307"/>
            <ac:graphicFrameMk id="49" creationId="{9213DC1A-E5B8-5795-C487-B681D012476C}"/>
          </ac:graphicFrameMkLst>
        </pc:graphicFrameChg>
        <pc:graphicFrameChg chg="add mod">
          <ac:chgData name="Dmitriy Shumekov" userId="ffbf198107bbd5ce" providerId="LiveId" clId="{4D67C7A2-FE00-4525-AF5E-9335BFF471AC}" dt="2025-01-13T11:34:07.059" v="932"/>
          <ac:graphicFrameMkLst>
            <pc:docMk/>
            <pc:sldMk cId="1562896196" sldId="307"/>
            <ac:graphicFrameMk id="50" creationId="{569B2002-C865-0E49-1829-337280609B08}"/>
          </ac:graphicFrameMkLst>
        </pc:graphicFrameChg>
        <pc:graphicFrameChg chg="add mod modGraphic">
          <ac:chgData name="Dmitriy Shumekov" userId="ffbf198107bbd5ce" providerId="LiveId" clId="{4D67C7A2-FE00-4525-AF5E-9335BFF471AC}" dt="2025-01-13T11:46:14.347" v="1093"/>
          <ac:graphicFrameMkLst>
            <pc:docMk/>
            <pc:sldMk cId="1562896196" sldId="307"/>
            <ac:graphicFrameMk id="51" creationId="{3244EB83-EB0C-BA70-1E94-51FB433F3FB8}"/>
          </ac:graphicFrameMkLst>
        </pc:graphicFrameChg>
        <pc:cxnChg chg="add mod">
          <ac:chgData name="Dmitriy Shumekov" userId="ffbf198107bbd5ce" providerId="LiveId" clId="{4D67C7A2-FE00-4525-AF5E-9335BFF471AC}" dt="2025-01-13T11:34:07.059" v="932"/>
          <ac:cxnSpMkLst>
            <pc:docMk/>
            <pc:sldMk cId="1562896196" sldId="307"/>
            <ac:cxnSpMk id="37" creationId="{AD3085AA-D26B-32CC-6C93-9D81D50C898D}"/>
          </ac:cxnSpMkLst>
        </pc:cxnChg>
        <pc:cxnChg chg="add mod">
          <ac:chgData name="Dmitriy Shumekov" userId="ffbf198107bbd5ce" providerId="LiveId" clId="{4D67C7A2-FE00-4525-AF5E-9335BFF471AC}" dt="2025-01-13T11:34:07.059" v="932"/>
          <ac:cxnSpMkLst>
            <pc:docMk/>
            <pc:sldMk cId="1562896196" sldId="307"/>
            <ac:cxnSpMk id="38" creationId="{0C74AC23-8FC8-5103-EBBE-3614BD4F92DC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132269392" sldId="308"/>
        </pc:sldMkLst>
        <pc:spChg chg="mod">
          <ac:chgData name="Dmitriy Shumekov" userId="ffbf198107bbd5ce" providerId="LiveId" clId="{4D67C7A2-FE00-4525-AF5E-9335BFF471AC}" dt="2025-01-27T12:34:37.095" v="6124"/>
          <ac:spMkLst>
            <pc:docMk/>
            <pc:sldMk cId="1132269392" sldId="308"/>
            <ac:spMk id="2" creationId="{23E5B3D1-0301-3F6F-C5C4-9BA3E0AFE9CD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32269392" sldId="308"/>
            <ac:spMk id="3" creationId="{E382CC7B-321B-560B-3C00-7388D5E6B5A7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4" creationId="{01CEAC1C-D8EE-F30E-C13B-8096CFA033EA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5" creationId="{C66F942C-350B-E1C0-811F-50A50FC795D0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8" creationId="{5760B23C-19A3-62DD-E0EA-6F1D39A2168E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9" creationId="{D072867D-8707-9303-CF84-357C47F91C3D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0" creationId="{DE7003D0-AC68-C1A4-6F15-ED965D591D6A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4" creationId="{859B7B82-3FE5-546B-D29F-38879242C64C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5" creationId="{91BE130E-F6CF-C65C-249C-79AAB80B1BC7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6" creationId="{03EC4094-1F99-64AB-BFDF-C34CA7EB9181}"/>
          </ac:spMkLst>
        </pc:spChg>
        <pc:spChg chg="add mod">
          <ac:chgData name="Dmitriy Shumekov" userId="ffbf198107bbd5ce" providerId="LiveId" clId="{4D67C7A2-FE00-4525-AF5E-9335BFF471AC}" dt="2025-01-13T11:34:08.241" v="933"/>
          <ac:spMkLst>
            <pc:docMk/>
            <pc:sldMk cId="1132269392" sldId="308"/>
            <ac:spMk id="17" creationId="{6095F028-5C4A-4B08-93EB-0700359723AD}"/>
          </ac:spMkLst>
        </pc:sp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1" creationId="{3156452F-06EF-8B6B-E829-081030E7E5D7}"/>
          </ac:graphicFrameMkLst>
        </pc:graphicFrame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2" creationId="{1EFD1454-8455-D827-C88C-F898259779FA}"/>
          </ac:graphicFrameMkLst>
        </pc:graphicFrame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3" creationId="{B5F134A7-F7E8-D189-921E-00624409FFBD}"/>
          </ac:graphicFrameMkLst>
        </pc:graphicFrameChg>
        <pc:graphicFrameChg chg="add mod">
          <ac:chgData name="Dmitriy Shumekov" userId="ffbf198107bbd5ce" providerId="LiveId" clId="{4D67C7A2-FE00-4525-AF5E-9335BFF471AC}" dt="2025-01-13T13:01:48.101" v="1662"/>
          <ac:graphicFrameMkLst>
            <pc:docMk/>
            <pc:sldMk cId="1132269392" sldId="308"/>
            <ac:graphicFrameMk id="18" creationId="{7B8021BB-F784-30A2-7DA0-5F741A03D8D9}"/>
          </ac:graphicFrameMkLst>
        </pc:graphicFrameChg>
        <pc:graphicFrameChg chg="add mod">
          <ac:chgData name="Dmitriy Shumekov" userId="ffbf198107bbd5ce" providerId="LiveId" clId="{4D67C7A2-FE00-4525-AF5E-9335BFF471AC}" dt="2025-01-13T11:34:08.241" v="933"/>
          <ac:graphicFrameMkLst>
            <pc:docMk/>
            <pc:sldMk cId="1132269392" sldId="308"/>
            <ac:graphicFrameMk id="19" creationId="{4C23D30B-B075-A316-3448-CB9862A736E8}"/>
          </ac:graphicFrameMkLst>
        </pc:graphicFrameChg>
        <pc:graphicFrameChg chg="add mod modGraphic">
          <ac:chgData name="Dmitriy Shumekov" userId="ffbf198107bbd5ce" providerId="LiveId" clId="{4D67C7A2-FE00-4525-AF5E-9335BFF471AC}" dt="2025-01-13T11:48:47.684" v="1148"/>
          <ac:graphicFrameMkLst>
            <pc:docMk/>
            <pc:sldMk cId="1132269392" sldId="308"/>
            <ac:graphicFrameMk id="21" creationId="{111E260D-952D-F054-8F61-013D35125736}"/>
          </ac:graphicFrameMkLst>
        </pc:graphicFrameChg>
        <pc:cxnChg chg="add mod">
          <ac:chgData name="Dmitriy Shumekov" userId="ffbf198107bbd5ce" providerId="LiveId" clId="{4D67C7A2-FE00-4525-AF5E-9335BFF471AC}" dt="2025-01-13T11:34:08.241" v="933"/>
          <ac:cxnSpMkLst>
            <pc:docMk/>
            <pc:sldMk cId="1132269392" sldId="308"/>
            <ac:cxnSpMk id="6" creationId="{B491745A-F886-288F-B078-349C7D9C9874}"/>
          </ac:cxnSpMkLst>
        </pc:cxnChg>
        <pc:cxnChg chg="add mod">
          <ac:chgData name="Dmitriy Shumekov" userId="ffbf198107bbd5ce" providerId="LiveId" clId="{4D67C7A2-FE00-4525-AF5E-9335BFF471AC}" dt="2025-01-13T11:34:08.241" v="933"/>
          <ac:cxnSpMkLst>
            <pc:docMk/>
            <pc:sldMk cId="1132269392" sldId="308"/>
            <ac:cxnSpMk id="7" creationId="{D54F16EF-66AB-706E-F664-C462AE340190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780181516" sldId="309"/>
        </pc:sldMkLst>
        <pc:spChg chg="mod">
          <ac:chgData name="Dmitriy Shumekov" userId="ffbf198107bbd5ce" providerId="LiveId" clId="{4D67C7A2-FE00-4525-AF5E-9335BFF471AC}" dt="2025-01-27T12:34:40.160" v="6125"/>
          <ac:spMkLst>
            <pc:docMk/>
            <pc:sldMk cId="1780181516" sldId="309"/>
            <ac:spMk id="2" creationId="{29EA11C1-51A7-5FF2-BBAD-9C65B030EB16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780181516" sldId="309"/>
            <ac:spMk id="3" creationId="{7BB18F35-A4E6-CDD3-FCFD-4DD5B9A458F4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4" creationId="{278F6C6E-2245-526C-837C-75BAB1D761D9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5" creationId="{7FAD6F8A-4319-9BE9-09A2-11936544C7D7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8" creationId="{FE3EC39E-EDF3-61B8-F0E9-F1BEAAE0486C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9" creationId="{CCD46C18-160F-CD3A-3615-FC77D5706BAB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0" creationId="{8AD3AB36-91E2-2726-2CDF-1E5A75F3EE04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4" creationId="{5839C547-AF36-B584-E0E8-0BEEFF2FFC08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5" creationId="{8F7A4932-76EF-E210-507E-36A31856D189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6" creationId="{D9A0A291-08B8-8D6D-2E36-E341FC0A12C5}"/>
          </ac:spMkLst>
        </pc:spChg>
        <pc:spChg chg="add mod">
          <ac:chgData name="Dmitriy Shumekov" userId="ffbf198107bbd5ce" providerId="LiveId" clId="{4D67C7A2-FE00-4525-AF5E-9335BFF471AC}" dt="2025-01-13T11:34:09.325" v="934"/>
          <ac:spMkLst>
            <pc:docMk/>
            <pc:sldMk cId="1780181516" sldId="309"/>
            <ac:spMk id="17" creationId="{B5C9D5DA-E297-61A3-3C30-03037EBB03D4}"/>
          </ac:spMkLst>
        </pc:spChg>
        <pc:graphicFrameChg chg="add mod">
          <ac:chgData name="Dmitriy Shumekov" userId="ffbf198107bbd5ce" providerId="LiveId" clId="{4D67C7A2-FE00-4525-AF5E-9335BFF471AC}" dt="2025-01-13T11:34:09.325" v="934"/>
          <ac:graphicFrameMkLst>
            <pc:docMk/>
            <pc:sldMk cId="1780181516" sldId="309"/>
            <ac:graphicFrameMk id="11" creationId="{8FB7C39D-721B-5F3E-C96A-0A6A75A027D1}"/>
          </ac:graphicFrameMkLst>
        </pc:graphicFrameChg>
        <pc:graphicFrameChg chg="add mod">
          <ac:chgData name="Dmitriy Shumekov" userId="ffbf198107bbd5ce" providerId="LiveId" clId="{4D67C7A2-FE00-4525-AF5E-9335BFF471AC}" dt="2025-01-13T11:34:09.325" v="934"/>
          <ac:graphicFrameMkLst>
            <pc:docMk/>
            <pc:sldMk cId="1780181516" sldId="309"/>
            <ac:graphicFrameMk id="12" creationId="{78F95DAE-5133-5541-6981-116A285F8ACC}"/>
          </ac:graphicFrameMkLst>
        </pc:graphicFrameChg>
        <pc:graphicFrameChg chg="add mod">
          <ac:chgData name="Dmitriy Shumekov" userId="ffbf198107bbd5ce" providerId="LiveId" clId="{4D67C7A2-FE00-4525-AF5E-9335BFF471AC}" dt="2025-01-13T12:57:36.558" v="1604"/>
          <ac:graphicFrameMkLst>
            <pc:docMk/>
            <pc:sldMk cId="1780181516" sldId="309"/>
            <ac:graphicFrameMk id="13" creationId="{EB61378A-4FCB-D345-BFFA-7D0F89D8F9DD}"/>
          </ac:graphicFrameMkLst>
        </pc:graphicFrameChg>
        <pc:graphicFrameChg chg="add mod">
          <ac:chgData name="Dmitriy Shumekov" userId="ffbf198107bbd5ce" providerId="LiveId" clId="{4D67C7A2-FE00-4525-AF5E-9335BFF471AC}" dt="2025-01-13T13:02:14.863" v="1666"/>
          <ac:graphicFrameMkLst>
            <pc:docMk/>
            <pc:sldMk cId="1780181516" sldId="309"/>
            <ac:graphicFrameMk id="18" creationId="{F3E085A3-F735-CB7E-A894-720FD099B51B}"/>
          </ac:graphicFrameMkLst>
        </pc:graphicFrameChg>
        <pc:graphicFrameChg chg="add mod">
          <ac:chgData name="Dmitriy Shumekov" userId="ffbf198107bbd5ce" providerId="LiveId" clId="{4D67C7A2-FE00-4525-AF5E-9335BFF471AC}" dt="2025-01-13T11:34:09.325" v="934"/>
          <ac:graphicFrameMkLst>
            <pc:docMk/>
            <pc:sldMk cId="1780181516" sldId="309"/>
            <ac:graphicFrameMk id="19" creationId="{AE8E51ED-7B70-9804-7F5F-29485A0B6C5B}"/>
          </ac:graphicFrameMkLst>
        </pc:graphicFrameChg>
        <pc:graphicFrameChg chg="add mod modGraphic">
          <ac:chgData name="Dmitriy Shumekov" userId="ffbf198107bbd5ce" providerId="LiveId" clId="{4D67C7A2-FE00-4525-AF5E-9335BFF471AC}" dt="2025-01-13T11:51:41.221" v="1176" actId="20577"/>
          <ac:graphicFrameMkLst>
            <pc:docMk/>
            <pc:sldMk cId="1780181516" sldId="309"/>
            <ac:graphicFrameMk id="21" creationId="{71622F10-1D55-9A3C-7B8A-D848F2A89F51}"/>
          </ac:graphicFrameMkLst>
        </pc:graphicFrameChg>
        <pc:cxnChg chg="add mod">
          <ac:chgData name="Dmitriy Shumekov" userId="ffbf198107bbd5ce" providerId="LiveId" clId="{4D67C7A2-FE00-4525-AF5E-9335BFF471AC}" dt="2025-01-13T11:34:09.325" v="934"/>
          <ac:cxnSpMkLst>
            <pc:docMk/>
            <pc:sldMk cId="1780181516" sldId="309"/>
            <ac:cxnSpMk id="6" creationId="{A50A40E7-7B6A-6F29-BB44-8E2EEDA9B568}"/>
          </ac:cxnSpMkLst>
        </pc:cxnChg>
        <pc:cxnChg chg="add mod">
          <ac:chgData name="Dmitriy Shumekov" userId="ffbf198107bbd5ce" providerId="LiveId" clId="{4D67C7A2-FE00-4525-AF5E-9335BFF471AC}" dt="2025-01-13T11:34:09.325" v="934"/>
          <ac:cxnSpMkLst>
            <pc:docMk/>
            <pc:sldMk cId="1780181516" sldId="309"/>
            <ac:cxnSpMk id="7" creationId="{97A16AEA-1301-2B6F-E423-00E9ACC11BCB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720712469" sldId="310"/>
        </pc:sldMkLst>
        <pc:spChg chg="mod">
          <ac:chgData name="Dmitriy Shumekov" userId="ffbf198107bbd5ce" providerId="LiveId" clId="{4D67C7A2-FE00-4525-AF5E-9335BFF471AC}" dt="2025-01-27T12:34:42.660" v="6126"/>
          <ac:spMkLst>
            <pc:docMk/>
            <pc:sldMk cId="720712469" sldId="310"/>
            <ac:spMk id="2" creationId="{A52BDD66-8B1F-6B90-1EB9-5BBF2ED08502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720712469" sldId="310"/>
            <ac:spMk id="3" creationId="{9333ABC5-99F8-4417-9685-3F6225A3A34B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4" creationId="{92ED444E-070F-1913-B8B7-FB7015987EEA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5" creationId="{B1B7DFA6-DAB5-95A7-B472-7EE18E84B2D0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8" creationId="{9CA091DF-7077-1A6D-B74D-DB937E523D36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9" creationId="{A08EE939-7354-DDBC-9CA9-6DB841141182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0" creationId="{15DA4FA5-C690-EEB7-2CDA-23379712E568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4" creationId="{8BC510D3-6713-56FE-3890-245CE9CA568B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5" creationId="{0DA55A7F-E9BF-4AD9-6B28-467088C82387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6" creationId="{5CD391F4-AF1A-3120-5EDE-70E3A7ABAB69}"/>
          </ac:spMkLst>
        </pc:spChg>
        <pc:spChg chg="add mod">
          <ac:chgData name="Dmitriy Shumekov" userId="ffbf198107bbd5ce" providerId="LiveId" clId="{4D67C7A2-FE00-4525-AF5E-9335BFF471AC}" dt="2025-01-13T11:34:10.529" v="935"/>
          <ac:spMkLst>
            <pc:docMk/>
            <pc:sldMk cId="720712469" sldId="310"/>
            <ac:spMk id="17" creationId="{429BE3F7-08F4-3BAB-70D9-A8A626DE87BC}"/>
          </ac:spMkLst>
        </pc:sp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1" creationId="{9B954005-34DC-9CCC-59D3-0F3203363320}"/>
          </ac:graphicFrameMkLst>
        </pc:graphicFrame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2" creationId="{0EA5E0F5-0893-720F-6F7B-2E66BF7FA088}"/>
          </ac:graphicFrameMkLst>
        </pc:graphicFrame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3" creationId="{89166B72-7088-ED9B-3B2F-BDB966A6B7E8}"/>
          </ac:graphicFrameMkLst>
        </pc:graphicFrameChg>
        <pc:graphicFrameChg chg="add mod">
          <ac:chgData name="Dmitriy Shumekov" userId="ffbf198107bbd5ce" providerId="LiveId" clId="{4D67C7A2-FE00-4525-AF5E-9335BFF471AC}" dt="2025-01-13T13:02:34.059" v="1670"/>
          <ac:graphicFrameMkLst>
            <pc:docMk/>
            <pc:sldMk cId="720712469" sldId="310"/>
            <ac:graphicFrameMk id="18" creationId="{4007CF6A-6E07-141F-1AB0-9DE2C701BCD8}"/>
          </ac:graphicFrameMkLst>
        </pc:graphicFrameChg>
        <pc:graphicFrameChg chg="add mod">
          <ac:chgData name="Dmitriy Shumekov" userId="ffbf198107bbd5ce" providerId="LiveId" clId="{4D67C7A2-FE00-4525-AF5E-9335BFF471AC}" dt="2025-01-13T11:34:10.529" v="935"/>
          <ac:graphicFrameMkLst>
            <pc:docMk/>
            <pc:sldMk cId="720712469" sldId="310"/>
            <ac:graphicFrameMk id="19" creationId="{4C2F8125-23AE-0534-1C21-1CA70FEC78FB}"/>
          </ac:graphicFrameMkLst>
        </pc:graphicFrameChg>
        <pc:graphicFrameChg chg="add mod modGraphic">
          <ac:chgData name="Dmitriy Shumekov" userId="ffbf198107bbd5ce" providerId="LiveId" clId="{4D67C7A2-FE00-4525-AF5E-9335BFF471AC}" dt="2025-01-13T11:53:09.614" v="1196"/>
          <ac:graphicFrameMkLst>
            <pc:docMk/>
            <pc:sldMk cId="720712469" sldId="310"/>
            <ac:graphicFrameMk id="21" creationId="{D9E12B36-3CF1-3197-EC06-8B797FFA334D}"/>
          </ac:graphicFrameMkLst>
        </pc:graphicFrameChg>
        <pc:cxnChg chg="add mod">
          <ac:chgData name="Dmitriy Shumekov" userId="ffbf198107bbd5ce" providerId="LiveId" clId="{4D67C7A2-FE00-4525-AF5E-9335BFF471AC}" dt="2025-01-13T11:34:10.529" v="935"/>
          <ac:cxnSpMkLst>
            <pc:docMk/>
            <pc:sldMk cId="720712469" sldId="310"/>
            <ac:cxnSpMk id="6" creationId="{828CD233-1FCF-690E-F202-C701019EA5A2}"/>
          </ac:cxnSpMkLst>
        </pc:cxnChg>
        <pc:cxnChg chg="add mod">
          <ac:chgData name="Dmitriy Shumekov" userId="ffbf198107bbd5ce" providerId="LiveId" clId="{4D67C7A2-FE00-4525-AF5E-9335BFF471AC}" dt="2025-01-13T11:34:10.529" v="935"/>
          <ac:cxnSpMkLst>
            <pc:docMk/>
            <pc:sldMk cId="720712469" sldId="310"/>
            <ac:cxnSpMk id="7" creationId="{DAE0A686-B623-1EFF-E70D-FF740D7360CB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296141040" sldId="311"/>
        </pc:sldMkLst>
        <pc:spChg chg="mod">
          <ac:chgData name="Dmitriy Shumekov" userId="ffbf198107bbd5ce" providerId="LiveId" clId="{4D67C7A2-FE00-4525-AF5E-9335BFF471AC}" dt="2025-01-27T12:34:44.887" v="6127"/>
          <ac:spMkLst>
            <pc:docMk/>
            <pc:sldMk cId="1296141040" sldId="311"/>
            <ac:spMk id="2" creationId="{E547D814-2F37-62D0-F50B-BF465F72BF8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96141040" sldId="311"/>
            <ac:spMk id="3" creationId="{DBEDE3E0-3D21-69F5-C27C-D9B77E719D42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4" creationId="{9CD48F36-06A1-8B98-0B0B-7E94A6ABD656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5" creationId="{152A5391-2016-D7A0-BA71-BED880A9465F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8" creationId="{8AFEDF3E-2690-915E-CDE0-E6BF511C4728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9" creationId="{829C2333-75AF-018E-4B00-4D8F97CC6ACE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0" creationId="{A3321302-B590-29AE-6A65-95B582E24268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4" creationId="{5AECE725-DA75-3218-BC38-CA86039049AA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5" creationId="{BDA8CE2D-6EF3-1C8B-6891-F6535BA556D4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6" creationId="{857A29F0-F032-21A2-B493-0CA5ED927B84}"/>
          </ac:spMkLst>
        </pc:spChg>
        <pc:spChg chg="add mod">
          <ac:chgData name="Dmitriy Shumekov" userId="ffbf198107bbd5ce" providerId="LiveId" clId="{4D67C7A2-FE00-4525-AF5E-9335BFF471AC}" dt="2025-01-13T11:34:11.248" v="936"/>
          <ac:spMkLst>
            <pc:docMk/>
            <pc:sldMk cId="1296141040" sldId="311"/>
            <ac:spMk id="17" creationId="{331416BB-F38C-179F-102A-7615FFB369AC}"/>
          </ac:spMkLst>
        </pc:sp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1" creationId="{CB7ABF88-E6A2-E19C-61D5-F60CFC0F8A9F}"/>
          </ac:graphicFrameMkLst>
        </pc:graphicFrame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2" creationId="{1F8A4609-1B20-F12D-9DE6-D00826623063}"/>
          </ac:graphicFrameMkLst>
        </pc:graphicFrame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3" creationId="{C27AE29B-5D12-FE5C-CDF3-3B1FEBEEC93A}"/>
          </ac:graphicFrameMkLst>
        </pc:graphicFrameChg>
        <pc:graphicFrameChg chg="add mod">
          <ac:chgData name="Dmitriy Shumekov" userId="ffbf198107bbd5ce" providerId="LiveId" clId="{4D67C7A2-FE00-4525-AF5E-9335BFF471AC}" dt="2025-01-13T13:02:54.742" v="1674"/>
          <ac:graphicFrameMkLst>
            <pc:docMk/>
            <pc:sldMk cId="1296141040" sldId="311"/>
            <ac:graphicFrameMk id="18" creationId="{7F1EAEC2-09B2-1BBB-E767-83C292305A8C}"/>
          </ac:graphicFrameMkLst>
        </pc:graphicFrameChg>
        <pc:graphicFrameChg chg="add mod">
          <ac:chgData name="Dmitriy Shumekov" userId="ffbf198107bbd5ce" providerId="LiveId" clId="{4D67C7A2-FE00-4525-AF5E-9335BFF471AC}" dt="2025-01-13T11:34:11.248" v="936"/>
          <ac:graphicFrameMkLst>
            <pc:docMk/>
            <pc:sldMk cId="1296141040" sldId="311"/>
            <ac:graphicFrameMk id="19" creationId="{923E5860-111C-6D19-5B00-DAF3CB991E17}"/>
          </ac:graphicFrameMkLst>
        </pc:graphicFrameChg>
        <pc:graphicFrameChg chg="add mod modGraphic">
          <ac:chgData name="Dmitriy Shumekov" userId="ffbf198107bbd5ce" providerId="LiveId" clId="{4D67C7A2-FE00-4525-AF5E-9335BFF471AC}" dt="2025-01-13T11:55:57.574" v="1214"/>
          <ac:graphicFrameMkLst>
            <pc:docMk/>
            <pc:sldMk cId="1296141040" sldId="311"/>
            <ac:graphicFrameMk id="21" creationId="{4E8CE9A9-FA65-754C-1DA2-170DB1994E86}"/>
          </ac:graphicFrameMkLst>
        </pc:graphicFrameChg>
        <pc:cxnChg chg="add mod">
          <ac:chgData name="Dmitriy Shumekov" userId="ffbf198107bbd5ce" providerId="LiveId" clId="{4D67C7A2-FE00-4525-AF5E-9335BFF471AC}" dt="2025-01-13T11:34:11.248" v="936"/>
          <ac:cxnSpMkLst>
            <pc:docMk/>
            <pc:sldMk cId="1296141040" sldId="311"/>
            <ac:cxnSpMk id="6" creationId="{08A452BB-BA7B-997D-0BAA-F79D7F97694E}"/>
          </ac:cxnSpMkLst>
        </pc:cxnChg>
        <pc:cxnChg chg="add mod">
          <ac:chgData name="Dmitriy Shumekov" userId="ffbf198107bbd5ce" providerId="LiveId" clId="{4D67C7A2-FE00-4525-AF5E-9335BFF471AC}" dt="2025-01-13T11:34:11.248" v="936"/>
          <ac:cxnSpMkLst>
            <pc:docMk/>
            <pc:sldMk cId="1296141040" sldId="311"/>
            <ac:cxnSpMk id="7" creationId="{DAB2F7B9-BC83-FFA8-795F-30022C17FFDB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930879956" sldId="312"/>
        </pc:sldMkLst>
        <pc:spChg chg="mod">
          <ac:chgData name="Dmitriy Shumekov" userId="ffbf198107bbd5ce" providerId="LiveId" clId="{4D67C7A2-FE00-4525-AF5E-9335BFF471AC}" dt="2025-01-27T12:34:47.093" v="6128"/>
          <ac:spMkLst>
            <pc:docMk/>
            <pc:sldMk cId="2930879956" sldId="312"/>
            <ac:spMk id="2" creationId="{746B9E83-2D84-2111-F9F2-B73513AE388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930879956" sldId="312"/>
            <ac:spMk id="3" creationId="{14BB2693-5733-29BE-7B9C-DB762ABF9427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4" creationId="{374D6198-0986-E61D-71DB-30A69BE94041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5" creationId="{9D541CB0-8E41-8419-0C6A-25A7C2EB137F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8" creationId="{DBCF0B42-B38A-4CAE-3D76-079AC0314AFC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9" creationId="{7DF2EF4F-A868-5D26-741B-9FF5A571356F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0" creationId="{9F575D7C-5486-EB60-EC27-FAAB6CB6B918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4" creationId="{46DEECF2-181C-3694-0996-99DA6A65BAC9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5" creationId="{755DF18E-1CF4-6068-2102-5516CDC975BF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6" creationId="{D6139540-760C-F422-4AC8-D07A72A8B897}"/>
          </ac:spMkLst>
        </pc:spChg>
        <pc:spChg chg="add mod">
          <ac:chgData name="Dmitriy Shumekov" userId="ffbf198107bbd5ce" providerId="LiveId" clId="{4D67C7A2-FE00-4525-AF5E-9335BFF471AC}" dt="2025-01-13T11:34:12.186" v="937"/>
          <ac:spMkLst>
            <pc:docMk/>
            <pc:sldMk cId="2930879956" sldId="312"/>
            <ac:spMk id="17" creationId="{8BBE8BB9-F784-46CE-1D83-6D8646C2D3F4}"/>
          </ac:spMkLst>
        </pc:spChg>
        <pc:graphicFrameChg chg="add mod">
          <ac:chgData name="Dmitriy Shumekov" userId="ffbf198107bbd5ce" providerId="LiveId" clId="{4D67C7A2-FE00-4525-AF5E-9335BFF471AC}" dt="2025-01-13T11:34:12.186" v="937"/>
          <ac:graphicFrameMkLst>
            <pc:docMk/>
            <pc:sldMk cId="2930879956" sldId="312"/>
            <ac:graphicFrameMk id="11" creationId="{1A3AB5C8-C0E3-A49F-6033-377E92FBA16F}"/>
          </ac:graphicFrameMkLst>
        </pc:graphicFrameChg>
        <pc:graphicFrameChg chg="add mod">
          <ac:chgData name="Dmitriy Shumekov" userId="ffbf198107bbd5ce" providerId="LiveId" clId="{4D67C7A2-FE00-4525-AF5E-9335BFF471AC}" dt="2025-01-13T11:34:12.186" v="937"/>
          <ac:graphicFrameMkLst>
            <pc:docMk/>
            <pc:sldMk cId="2930879956" sldId="312"/>
            <ac:graphicFrameMk id="12" creationId="{21A2F36E-CE9D-5F80-2076-2B2C093EAD40}"/>
          </ac:graphicFrameMkLst>
        </pc:graphicFrameChg>
        <pc:graphicFrameChg chg="add mod">
          <ac:chgData name="Dmitriy Shumekov" userId="ffbf198107bbd5ce" providerId="LiveId" clId="{4D67C7A2-FE00-4525-AF5E-9335BFF471AC}" dt="2025-01-13T12:58:10.853" v="1614"/>
          <ac:graphicFrameMkLst>
            <pc:docMk/>
            <pc:sldMk cId="2930879956" sldId="312"/>
            <ac:graphicFrameMk id="13" creationId="{AB0799EF-0B48-A0B6-9C87-67F2A25F1EF3}"/>
          </ac:graphicFrameMkLst>
        </pc:graphicFrameChg>
        <pc:graphicFrameChg chg="add mod">
          <ac:chgData name="Dmitriy Shumekov" userId="ffbf198107bbd5ce" providerId="LiveId" clId="{4D67C7A2-FE00-4525-AF5E-9335BFF471AC}" dt="2025-01-13T13:03:12.192" v="1678"/>
          <ac:graphicFrameMkLst>
            <pc:docMk/>
            <pc:sldMk cId="2930879956" sldId="312"/>
            <ac:graphicFrameMk id="18" creationId="{D64E4B75-12D4-E36B-6FE8-C18688618340}"/>
          </ac:graphicFrameMkLst>
        </pc:graphicFrameChg>
        <pc:graphicFrameChg chg="add mod">
          <ac:chgData name="Dmitriy Shumekov" userId="ffbf198107bbd5ce" providerId="LiveId" clId="{4D67C7A2-FE00-4525-AF5E-9335BFF471AC}" dt="2025-01-13T11:34:12.186" v="937"/>
          <ac:graphicFrameMkLst>
            <pc:docMk/>
            <pc:sldMk cId="2930879956" sldId="312"/>
            <ac:graphicFrameMk id="19" creationId="{79D50460-02D4-FE4C-CF05-59A34F498BF2}"/>
          </ac:graphicFrameMkLst>
        </pc:graphicFrameChg>
        <pc:graphicFrameChg chg="add mod modGraphic">
          <ac:chgData name="Dmitriy Shumekov" userId="ffbf198107bbd5ce" providerId="LiveId" clId="{4D67C7A2-FE00-4525-AF5E-9335BFF471AC}" dt="2025-01-13T12:02:45.835" v="1237"/>
          <ac:graphicFrameMkLst>
            <pc:docMk/>
            <pc:sldMk cId="2930879956" sldId="312"/>
            <ac:graphicFrameMk id="21" creationId="{E74B11A2-EB6D-65CA-677E-37EC9615530E}"/>
          </ac:graphicFrameMkLst>
        </pc:graphicFrameChg>
        <pc:cxnChg chg="add mod">
          <ac:chgData name="Dmitriy Shumekov" userId="ffbf198107bbd5ce" providerId="LiveId" clId="{4D67C7A2-FE00-4525-AF5E-9335BFF471AC}" dt="2025-01-13T11:34:12.186" v="937"/>
          <ac:cxnSpMkLst>
            <pc:docMk/>
            <pc:sldMk cId="2930879956" sldId="312"/>
            <ac:cxnSpMk id="6" creationId="{03FBB59F-5940-0B57-9B86-FB928625D0BB}"/>
          </ac:cxnSpMkLst>
        </pc:cxnChg>
        <pc:cxnChg chg="add mod">
          <ac:chgData name="Dmitriy Shumekov" userId="ffbf198107bbd5ce" providerId="LiveId" clId="{4D67C7A2-FE00-4525-AF5E-9335BFF471AC}" dt="2025-01-13T11:34:12.186" v="937"/>
          <ac:cxnSpMkLst>
            <pc:docMk/>
            <pc:sldMk cId="2930879956" sldId="312"/>
            <ac:cxnSpMk id="7" creationId="{E56A555B-D38F-F1C1-2460-BC5DAB724C2A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333704881" sldId="313"/>
        </pc:sldMkLst>
        <pc:spChg chg="mod">
          <ac:chgData name="Dmitriy Shumekov" userId="ffbf198107bbd5ce" providerId="LiveId" clId="{4D67C7A2-FE00-4525-AF5E-9335BFF471AC}" dt="2025-01-27T12:34:49.033" v="6129"/>
          <ac:spMkLst>
            <pc:docMk/>
            <pc:sldMk cId="3333704881" sldId="313"/>
            <ac:spMk id="2" creationId="{792B72B5-B198-D29B-5427-91B38643A614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333704881" sldId="313"/>
            <ac:spMk id="3" creationId="{84BE59BA-53E0-B49C-36EF-CCC4E09B1A95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4" creationId="{E33BCFF5-0E54-120A-9D6E-CFB2D123D1E3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5" creationId="{BD9088AA-5F53-17EA-D374-216C7BCEDA47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8" creationId="{223FCE26-9519-D463-A41B-53E2560275F5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9" creationId="{028BADBB-FEDD-B8A3-0BB9-899840712A2F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0" creationId="{4D312EAD-F7FC-FD9C-C36D-EE77CA831C85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4" creationId="{ED204B82-33CE-6BF4-DF92-062500BA7CEE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5" creationId="{439F4A3F-D4FE-9C13-EEE3-8FE90D260112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6" creationId="{077603C5-423E-C101-6A5F-06171F5E3E4F}"/>
          </ac:spMkLst>
        </pc:spChg>
        <pc:spChg chg="add mod">
          <ac:chgData name="Dmitriy Shumekov" userId="ffbf198107bbd5ce" providerId="LiveId" clId="{4D67C7A2-FE00-4525-AF5E-9335BFF471AC}" dt="2025-01-13T11:34:12.736" v="938"/>
          <ac:spMkLst>
            <pc:docMk/>
            <pc:sldMk cId="3333704881" sldId="313"/>
            <ac:spMk id="17" creationId="{1D28064A-0F03-B6C9-6409-9EEA8B3ECA7C}"/>
          </ac:spMkLst>
        </pc:sp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1" creationId="{74D59058-DF1A-F8F9-660C-3694CF49CFF3}"/>
          </ac:graphicFrameMkLst>
        </pc:graphicFrame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2" creationId="{612BC9A4-6A8F-10F0-EFFD-A3ECF25E225D}"/>
          </ac:graphicFrameMkLst>
        </pc:graphicFrameChg>
        <pc:graphicFrameChg chg="add mod">
          <ac:chgData name="Dmitriy Shumekov" userId="ffbf198107bbd5ce" providerId="LiveId" clId="{4D67C7A2-FE00-4525-AF5E-9335BFF471AC}" dt="2025-01-13T12:58:24.131" v="1618"/>
          <ac:graphicFrameMkLst>
            <pc:docMk/>
            <pc:sldMk cId="3333704881" sldId="313"/>
            <ac:graphicFrameMk id="13" creationId="{43FD1885-6B27-6DC0-7A1B-CF139FBE4E3D}"/>
          </ac:graphicFrameMkLst>
        </pc:graphicFrame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8" creationId="{30E4140F-2803-79A3-FFBB-8DBAFAADF811}"/>
          </ac:graphicFrameMkLst>
        </pc:graphicFrameChg>
        <pc:graphicFrameChg chg="add mod">
          <ac:chgData name="Dmitriy Shumekov" userId="ffbf198107bbd5ce" providerId="LiveId" clId="{4D67C7A2-FE00-4525-AF5E-9335BFF471AC}" dt="2025-01-13T11:34:12.736" v="938"/>
          <ac:graphicFrameMkLst>
            <pc:docMk/>
            <pc:sldMk cId="3333704881" sldId="313"/>
            <ac:graphicFrameMk id="19" creationId="{FB658A7F-6AEA-5627-541D-D07F6C9C61E3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23.209" v="1410"/>
          <ac:graphicFrameMkLst>
            <pc:docMk/>
            <pc:sldMk cId="3333704881" sldId="313"/>
            <ac:graphicFrameMk id="21" creationId="{FDC65289-124B-BE1B-F96C-F78F22FF8CB5}"/>
          </ac:graphicFrameMkLst>
        </pc:graphicFrameChg>
        <pc:cxnChg chg="add mod">
          <ac:chgData name="Dmitriy Shumekov" userId="ffbf198107bbd5ce" providerId="LiveId" clId="{4D67C7A2-FE00-4525-AF5E-9335BFF471AC}" dt="2025-01-13T11:34:12.736" v="938"/>
          <ac:cxnSpMkLst>
            <pc:docMk/>
            <pc:sldMk cId="3333704881" sldId="313"/>
            <ac:cxnSpMk id="6" creationId="{8E2D2016-9731-E836-C053-23C9E7944B83}"/>
          </ac:cxnSpMkLst>
        </pc:cxnChg>
        <pc:cxnChg chg="add mod">
          <ac:chgData name="Dmitriy Shumekov" userId="ffbf198107bbd5ce" providerId="LiveId" clId="{4D67C7A2-FE00-4525-AF5E-9335BFF471AC}" dt="2025-01-13T11:34:12.736" v="938"/>
          <ac:cxnSpMkLst>
            <pc:docMk/>
            <pc:sldMk cId="3333704881" sldId="313"/>
            <ac:cxnSpMk id="7" creationId="{6CFB2AE8-7D59-62AE-FB56-6D64A2720366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194544004" sldId="314"/>
        </pc:sldMkLst>
        <pc:spChg chg="mod">
          <ac:chgData name="Dmitriy Shumekov" userId="ffbf198107bbd5ce" providerId="LiveId" clId="{4D67C7A2-FE00-4525-AF5E-9335BFF471AC}" dt="2025-01-27T12:34:50.779" v="6130"/>
          <ac:spMkLst>
            <pc:docMk/>
            <pc:sldMk cId="2194544004" sldId="314"/>
            <ac:spMk id="2" creationId="{0EE4DAAD-9A12-4C4E-6F14-E1CDF98D62C7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94544004" sldId="314"/>
            <ac:spMk id="3" creationId="{E78E678A-3AAF-CF1F-4B74-CBCCD0389D61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4" creationId="{7532A11A-5BB1-DD21-62C7-659348C76BE2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5" creationId="{DC167ED6-71E8-F4B2-0918-4466E12F0328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8" creationId="{37246544-66C0-0D25-4BF4-A436E30ADD82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9" creationId="{ECF1F3AF-2E52-1914-E3F2-BEC14D2C8B38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0" creationId="{E1599EFE-714B-3F81-F070-3C870BC4C587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4" creationId="{3347B210-9DA6-0590-3A72-40A861FA9CBD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5" creationId="{26A32110-F0D6-F284-DF30-75D29C28C74C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6" creationId="{E8CD41AB-DDC6-9F0B-A7EB-AE71209998B6}"/>
          </ac:spMkLst>
        </pc:spChg>
        <pc:spChg chg="add mod">
          <ac:chgData name="Dmitriy Shumekov" userId="ffbf198107bbd5ce" providerId="LiveId" clId="{4D67C7A2-FE00-4525-AF5E-9335BFF471AC}" dt="2025-01-13T11:34:13.835" v="939"/>
          <ac:spMkLst>
            <pc:docMk/>
            <pc:sldMk cId="2194544004" sldId="314"/>
            <ac:spMk id="17" creationId="{91293D51-6084-C7F2-34EC-F84FEB4700F9}"/>
          </ac:spMkLst>
        </pc:sp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1" creationId="{7493D6AD-87B3-A520-8961-5CB10D9DEA66}"/>
          </ac:graphicFrameMkLst>
        </pc:graphicFrame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2" creationId="{5AB7F94C-A9E0-F573-521B-96AD52D2F8EF}"/>
          </ac:graphicFrameMkLst>
        </pc:graphicFrame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3" creationId="{7CAC4D5E-0E98-50E8-E8A0-E1D3F148F112}"/>
          </ac:graphicFrameMkLst>
        </pc:graphicFrameChg>
        <pc:graphicFrameChg chg="add mod">
          <ac:chgData name="Dmitriy Shumekov" userId="ffbf198107bbd5ce" providerId="LiveId" clId="{4D67C7A2-FE00-4525-AF5E-9335BFF471AC}" dt="2025-01-13T13:03:42.477" v="1685"/>
          <ac:graphicFrameMkLst>
            <pc:docMk/>
            <pc:sldMk cId="2194544004" sldId="314"/>
            <ac:graphicFrameMk id="18" creationId="{41470749-BB82-8820-6280-2FC2DFA036F7}"/>
          </ac:graphicFrameMkLst>
        </pc:graphicFrameChg>
        <pc:graphicFrameChg chg="add mod">
          <ac:chgData name="Dmitriy Shumekov" userId="ffbf198107bbd5ce" providerId="LiveId" clId="{4D67C7A2-FE00-4525-AF5E-9335BFF471AC}" dt="2025-01-13T11:34:13.835" v="939"/>
          <ac:graphicFrameMkLst>
            <pc:docMk/>
            <pc:sldMk cId="2194544004" sldId="314"/>
            <ac:graphicFrameMk id="19" creationId="{62BB7ED9-ED5F-FF38-DB0C-38E7F166AF70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20.655" v="1409"/>
          <ac:graphicFrameMkLst>
            <pc:docMk/>
            <pc:sldMk cId="2194544004" sldId="314"/>
            <ac:graphicFrameMk id="21" creationId="{FE22AC8B-FCEB-8BAB-2C95-9F6A93E9AE99}"/>
          </ac:graphicFrameMkLst>
        </pc:graphicFrameChg>
        <pc:cxnChg chg="add mod">
          <ac:chgData name="Dmitriy Shumekov" userId="ffbf198107bbd5ce" providerId="LiveId" clId="{4D67C7A2-FE00-4525-AF5E-9335BFF471AC}" dt="2025-01-13T11:34:13.835" v="939"/>
          <ac:cxnSpMkLst>
            <pc:docMk/>
            <pc:sldMk cId="2194544004" sldId="314"/>
            <ac:cxnSpMk id="6" creationId="{A78E953B-032B-563F-A948-B365A15397B6}"/>
          </ac:cxnSpMkLst>
        </pc:cxnChg>
        <pc:cxnChg chg="add mod">
          <ac:chgData name="Dmitriy Shumekov" userId="ffbf198107bbd5ce" providerId="LiveId" clId="{4D67C7A2-FE00-4525-AF5E-9335BFF471AC}" dt="2025-01-13T11:34:13.835" v="939"/>
          <ac:cxnSpMkLst>
            <pc:docMk/>
            <pc:sldMk cId="2194544004" sldId="314"/>
            <ac:cxnSpMk id="7" creationId="{19098A39-B7AF-19CA-227B-470658232297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770372957" sldId="315"/>
        </pc:sldMkLst>
        <pc:spChg chg="mod">
          <ac:chgData name="Dmitriy Shumekov" userId="ffbf198107bbd5ce" providerId="LiveId" clId="{4D67C7A2-FE00-4525-AF5E-9335BFF471AC}" dt="2025-01-27T12:35:08.032" v="6131"/>
          <ac:spMkLst>
            <pc:docMk/>
            <pc:sldMk cId="3770372957" sldId="315"/>
            <ac:spMk id="2" creationId="{7BA18C6A-EAFC-2DC8-7919-99A8A840E771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770372957" sldId="315"/>
            <ac:spMk id="3" creationId="{6B642B7C-33B0-D83A-B600-459BCF75CC78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4" creationId="{00302975-7F0B-E95A-E1C8-7CE187574430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5" creationId="{12CE3508-3121-1A34-259B-283C0F4FADE7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8" creationId="{A5D8D16C-CE14-71EC-5598-5044A635E509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9" creationId="{D63E63F1-F040-9AA3-38B6-C0DBB088DA3C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0" creationId="{1A612566-2C44-91E7-ADC8-E17813C49F05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4" creationId="{8B06360B-186B-3177-E7B0-EBF7A9974020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5" creationId="{367061EC-8C0B-E9C9-84B7-6A9D397E8184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6" creationId="{6C02250E-E0C1-89DB-3B02-433912AAE812}"/>
          </ac:spMkLst>
        </pc:spChg>
        <pc:spChg chg="add mod">
          <ac:chgData name="Dmitriy Shumekov" userId="ffbf198107bbd5ce" providerId="LiveId" clId="{4D67C7A2-FE00-4525-AF5E-9335BFF471AC}" dt="2025-01-13T11:34:14.549" v="940"/>
          <ac:spMkLst>
            <pc:docMk/>
            <pc:sldMk cId="3770372957" sldId="315"/>
            <ac:spMk id="17" creationId="{3D701F9D-7953-7344-6F17-0B6E88A2A3AC}"/>
          </ac:spMkLst>
        </pc:spChg>
        <pc:graphicFrameChg chg="add mod">
          <ac:chgData name="Dmitriy Shumekov" userId="ffbf198107bbd5ce" providerId="LiveId" clId="{4D67C7A2-FE00-4525-AF5E-9335BFF471AC}" dt="2025-01-13T11:34:14.549" v="940"/>
          <ac:graphicFrameMkLst>
            <pc:docMk/>
            <pc:sldMk cId="3770372957" sldId="315"/>
            <ac:graphicFrameMk id="11" creationId="{E8F3AC6A-7D64-EF7B-4375-0D9879E4F784}"/>
          </ac:graphicFrameMkLst>
        </pc:graphicFrameChg>
        <pc:graphicFrameChg chg="add mod">
          <ac:chgData name="Dmitriy Shumekov" userId="ffbf198107bbd5ce" providerId="LiveId" clId="{4D67C7A2-FE00-4525-AF5E-9335BFF471AC}" dt="2025-01-13T11:34:14.549" v="940"/>
          <ac:graphicFrameMkLst>
            <pc:docMk/>
            <pc:sldMk cId="3770372957" sldId="315"/>
            <ac:graphicFrameMk id="12" creationId="{20C75F8E-7D84-83DE-2E38-D44C4340407C}"/>
          </ac:graphicFrameMkLst>
        </pc:graphicFrameChg>
        <pc:graphicFrameChg chg="add mod">
          <ac:chgData name="Dmitriy Shumekov" userId="ffbf198107bbd5ce" providerId="LiveId" clId="{4D67C7A2-FE00-4525-AF5E-9335BFF471AC}" dt="2025-01-13T13:01:05.537" v="1658" actId="403"/>
          <ac:graphicFrameMkLst>
            <pc:docMk/>
            <pc:sldMk cId="3770372957" sldId="315"/>
            <ac:graphicFrameMk id="13" creationId="{2B6E3BA6-1A85-2FFB-A7F3-7336A395EFA7}"/>
          </ac:graphicFrameMkLst>
        </pc:graphicFrameChg>
        <pc:graphicFrameChg chg="add mod">
          <ac:chgData name="Dmitriy Shumekov" userId="ffbf198107bbd5ce" providerId="LiveId" clId="{4D67C7A2-FE00-4525-AF5E-9335BFF471AC}" dt="2025-01-13T13:04:05.868" v="1693" actId="1076"/>
          <ac:graphicFrameMkLst>
            <pc:docMk/>
            <pc:sldMk cId="3770372957" sldId="315"/>
            <ac:graphicFrameMk id="18" creationId="{5946BF28-FFAB-9071-D124-8BB88D891A78}"/>
          </ac:graphicFrameMkLst>
        </pc:graphicFrameChg>
        <pc:graphicFrameChg chg="add mod">
          <ac:chgData name="Dmitriy Shumekov" userId="ffbf198107bbd5ce" providerId="LiveId" clId="{4D67C7A2-FE00-4525-AF5E-9335BFF471AC}" dt="2025-01-13T11:34:14.549" v="940"/>
          <ac:graphicFrameMkLst>
            <pc:docMk/>
            <pc:sldMk cId="3770372957" sldId="315"/>
            <ac:graphicFrameMk id="19" creationId="{DAFAE59E-05B0-EFA7-EE7C-972F1AE99FE9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43.342" v="1411"/>
          <ac:graphicFrameMkLst>
            <pc:docMk/>
            <pc:sldMk cId="3770372957" sldId="315"/>
            <ac:graphicFrameMk id="21" creationId="{C1B4F346-48E9-3CD3-0131-D5F34DA9F600}"/>
          </ac:graphicFrameMkLst>
        </pc:graphicFrameChg>
        <pc:cxnChg chg="add mod">
          <ac:chgData name="Dmitriy Shumekov" userId="ffbf198107bbd5ce" providerId="LiveId" clId="{4D67C7A2-FE00-4525-AF5E-9335BFF471AC}" dt="2025-01-13T11:34:14.549" v="940"/>
          <ac:cxnSpMkLst>
            <pc:docMk/>
            <pc:sldMk cId="3770372957" sldId="315"/>
            <ac:cxnSpMk id="6" creationId="{EB4C32BB-BC74-52FB-DDCB-6EC0D4788752}"/>
          </ac:cxnSpMkLst>
        </pc:cxnChg>
        <pc:cxnChg chg="add mod">
          <ac:chgData name="Dmitriy Shumekov" userId="ffbf198107bbd5ce" providerId="LiveId" clId="{4D67C7A2-FE00-4525-AF5E-9335BFF471AC}" dt="2025-01-13T11:34:14.549" v="940"/>
          <ac:cxnSpMkLst>
            <pc:docMk/>
            <pc:sldMk cId="3770372957" sldId="315"/>
            <ac:cxnSpMk id="7" creationId="{FE618C98-93B1-77AB-9D2D-8506DF720AC2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037727578" sldId="316"/>
        </pc:sldMkLst>
        <pc:spChg chg="mod">
          <ac:chgData name="Dmitriy Shumekov" userId="ffbf198107bbd5ce" providerId="LiveId" clId="{4D67C7A2-FE00-4525-AF5E-9335BFF471AC}" dt="2025-01-27T12:35:09.973" v="6132"/>
          <ac:spMkLst>
            <pc:docMk/>
            <pc:sldMk cId="2037727578" sldId="316"/>
            <ac:spMk id="2" creationId="{3DCC2BB2-F8B3-C6D4-EA16-604FDB6E942C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37727578" sldId="316"/>
            <ac:spMk id="3" creationId="{1990B6ED-1CB3-E751-AAB8-F6CDC48C590E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4" creationId="{C8CA3260-A59C-5E34-DE01-B63C564B6D07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5" creationId="{6353FE47-391C-95D6-267F-54E5ACD549C3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8" creationId="{714DC712-F0F5-FC52-F5F3-0969C59D0F7E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9" creationId="{EC9BCBEB-B42C-7252-00E8-C8A619346CCC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0" creationId="{07F05541-D5E4-0F3C-BF13-787B44F688EB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4" creationId="{65EB506B-CFD0-98EB-971F-F6015DC40248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5" creationId="{1CB92E0B-B934-9018-FCDD-F108599A2E42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6" creationId="{7FD2FDFA-EE9D-726B-0AA8-13938625F10B}"/>
          </ac:spMkLst>
        </pc:spChg>
        <pc:spChg chg="add mod">
          <ac:chgData name="Dmitriy Shumekov" userId="ffbf198107bbd5ce" providerId="LiveId" clId="{4D67C7A2-FE00-4525-AF5E-9335BFF471AC}" dt="2025-01-13T11:34:15.034" v="941"/>
          <ac:spMkLst>
            <pc:docMk/>
            <pc:sldMk cId="2037727578" sldId="316"/>
            <ac:spMk id="17" creationId="{2DCF9414-9052-5602-F7D9-442DA4E19661}"/>
          </ac:spMkLst>
        </pc:spChg>
        <pc:graphicFrameChg chg="add mod">
          <ac:chgData name="Dmitriy Shumekov" userId="ffbf198107bbd5ce" providerId="LiveId" clId="{4D67C7A2-FE00-4525-AF5E-9335BFF471AC}" dt="2025-01-13T11:34:15.034" v="941"/>
          <ac:graphicFrameMkLst>
            <pc:docMk/>
            <pc:sldMk cId="2037727578" sldId="316"/>
            <ac:graphicFrameMk id="11" creationId="{312B80A9-C8A7-3E2A-3B89-257BC8CA5F13}"/>
          </ac:graphicFrameMkLst>
        </pc:graphicFrameChg>
        <pc:graphicFrameChg chg="add mod">
          <ac:chgData name="Dmitriy Shumekov" userId="ffbf198107bbd5ce" providerId="LiveId" clId="{4D67C7A2-FE00-4525-AF5E-9335BFF471AC}" dt="2025-01-13T12:53:08.856" v="1540" actId="14100"/>
          <ac:graphicFrameMkLst>
            <pc:docMk/>
            <pc:sldMk cId="2037727578" sldId="316"/>
            <ac:graphicFrameMk id="12" creationId="{FB0AB971-6115-CD71-71F3-50E2D07311B4}"/>
          </ac:graphicFrameMkLst>
        </pc:graphicFrameChg>
        <pc:graphicFrameChg chg="add mod">
          <ac:chgData name="Dmitriy Shumekov" userId="ffbf198107bbd5ce" providerId="LiveId" clId="{4D67C7A2-FE00-4525-AF5E-9335BFF471AC}" dt="2025-01-13T13:00:59.654" v="1657" actId="403"/>
          <ac:graphicFrameMkLst>
            <pc:docMk/>
            <pc:sldMk cId="2037727578" sldId="316"/>
            <ac:graphicFrameMk id="13" creationId="{1829C43C-E9EB-D5E6-E1CB-601C2FEF3624}"/>
          </ac:graphicFrameMkLst>
        </pc:graphicFrameChg>
        <pc:graphicFrameChg chg="add mod">
          <ac:chgData name="Dmitriy Shumekov" userId="ffbf198107bbd5ce" providerId="LiveId" clId="{4D67C7A2-FE00-4525-AF5E-9335BFF471AC}" dt="2025-01-13T13:04:26.222" v="1697"/>
          <ac:graphicFrameMkLst>
            <pc:docMk/>
            <pc:sldMk cId="2037727578" sldId="316"/>
            <ac:graphicFrameMk id="18" creationId="{C522AEAD-EE3F-516B-AA40-CF42D0639B90}"/>
          </ac:graphicFrameMkLst>
        </pc:graphicFrameChg>
        <pc:graphicFrameChg chg="add mod">
          <ac:chgData name="Dmitriy Shumekov" userId="ffbf198107bbd5ce" providerId="LiveId" clId="{4D67C7A2-FE00-4525-AF5E-9335BFF471AC}" dt="2025-01-13T11:34:15.034" v="941"/>
          <ac:graphicFrameMkLst>
            <pc:docMk/>
            <pc:sldMk cId="2037727578" sldId="316"/>
            <ac:graphicFrameMk id="19" creationId="{E532B5D0-3C46-C4A6-3AE5-FEED1872532A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46.307" v="1412"/>
          <ac:graphicFrameMkLst>
            <pc:docMk/>
            <pc:sldMk cId="2037727578" sldId="316"/>
            <ac:graphicFrameMk id="21" creationId="{C5EEF2CA-0CB6-F402-2767-C3DE3DD09FF9}"/>
          </ac:graphicFrameMkLst>
        </pc:graphicFrameChg>
        <pc:cxnChg chg="add mod">
          <ac:chgData name="Dmitriy Shumekov" userId="ffbf198107bbd5ce" providerId="LiveId" clId="{4D67C7A2-FE00-4525-AF5E-9335BFF471AC}" dt="2025-01-13T11:34:15.034" v="941"/>
          <ac:cxnSpMkLst>
            <pc:docMk/>
            <pc:sldMk cId="2037727578" sldId="316"/>
            <ac:cxnSpMk id="6" creationId="{0E8122F9-6005-E94A-9228-3FF473A5CEF3}"/>
          </ac:cxnSpMkLst>
        </pc:cxnChg>
        <pc:cxnChg chg="add mod">
          <ac:chgData name="Dmitriy Shumekov" userId="ffbf198107bbd5ce" providerId="LiveId" clId="{4D67C7A2-FE00-4525-AF5E-9335BFF471AC}" dt="2025-01-13T11:34:15.034" v="941"/>
          <ac:cxnSpMkLst>
            <pc:docMk/>
            <pc:sldMk cId="2037727578" sldId="316"/>
            <ac:cxnSpMk id="7" creationId="{33B63E3A-3D7C-07AD-DBB4-7B8329F80E72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120273757" sldId="317"/>
        </pc:sldMkLst>
        <pc:spChg chg="mod">
          <ac:chgData name="Dmitriy Shumekov" userId="ffbf198107bbd5ce" providerId="LiveId" clId="{4D67C7A2-FE00-4525-AF5E-9335BFF471AC}" dt="2025-01-27T12:35:11.893" v="6133"/>
          <ac:spMkLst>
            <pc:docMk/>
            <pc:sldMk cId="1120273757" sldId="317"/>
            <ac:spMk id="2" creationId="{F4AC3869-8B23-7C3F-F34B-ED88EDE0AF9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20273757" sldId="317"/>
            <ac:spMk id="3" creationId="{0FD34D4E-6F95-745D-1368-A106F38F9A83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4" creationId="{C768A772-1147-E862-5CCF-6B608C126B3E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5" creationId="{03D46ADB-84BD-C3A4-9797-14F00C2901C7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8" creationId="{6308F2EF-57F8-A190-EC24-D838D729EE98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9" creationId="{5B868345-66EA-817D-C256-C7B9DA03836C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0" creationId="{931B4C2A-703F-8840-B4A6-AC6B673F2664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4" creationId="{752F4786-47AD-30F0-406B-EF25999DA040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5" creationId="{FD8262AC-EF1C-DEDC-E27B-93A778CCDD0A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6" creationId="{694DDBB2-7087-F185-18F4-8773715A1BC8}"/>
          </ac:spMkLst>
        </pc:spChg>
        <pc:spChg chg="add mod">
          <ac:chgData name="Dmitriy Shumekov" userId="ffbf198107bbd5ce" providerId="LiveId" clId="{4D67C7A2-FE00-4525-AF5E-9335BFF471AC}" dt="2025-01-13T11:34:16.499" v="942"/>
          <ac:spMkLst>
            <pc:docMk/>
            <pc:sldMk cId="1120273757" sldId="317"/>
            <ac:spMk id="17" creationId="{EAA725D4-5EAD-CC23-7CDE-FF9A5BBC9F00}"/>
          </ac:spMkLst>
        </pc:sp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1" creationId="{98AB7842-0221-3D42-CF2F-EB2A6CAA992D}"/>
          </ac:graphicFrameMkLst>
        </pc:graphicFrame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2" creationId="{1D0CDB83-79CA-EEA6-4373-8F75369C2287}"/>
          </ac:graphicFrameMkLst>
        </pc:graphicFrame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3" creationId="{B6C56DE6-AC50-FE8E-788B-3D509BB8BA56}"/>
          </ac:graphicFrameMkLst>
        </pc:graphicFrameChg>
        <pc:graphicFrameChg chg="add mod">
          <ac:chgData name="Dmitriy Shumekov" userId="ffbf198107bbd5ce" providerId="LiveId" clId="{4D67C7A2-FE00-4525-AF5E-9335BFF471AC}" dt="2025-01-13T13:04:51.049" v="1709"/>
          <ac:graphicFrameMkLst>
            <pc:docMk/>
            <pc:sldMk cId="1120273757" sldId="317"/>
            <ac:graphicFrameMk id="18" creationId="{0AEB2E6F-F71D-2ECE-67A8-DEBA173F50F1}"/>
          </ac:graphicFrameMkLst>
        </pc:graphicFrameChg>
        <pc:graphicFrameChg chg="add mod">
          <ac:chgData name="Dmitriy Shumekov" userId="ffbf198107bbd5ce" providerId="LiveId" clId="{4D67C7A2-FE00-4525-AF5E-9335BFF471AC}" dt="2025-01-13T11:34:16.499" v="942"/>
          <ac:graphicFrameMkLst>
            <pc:docMk/>
            <pc:sldMk cId="1120273757" sldId="317"/>
            <ac:graphicFrameMk id="19" creationId="{850351A5-4ABA-5BEF-1686-653A07684DF8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49.494" v="1413"/>
          <ac:graphicFrameMkLst>
            <pc:docMk/>
            <pc:sldMk cId="1120273757" sldId="317"/>
            <ac:graphicFrameMk id="21" creationId="{FD119030-7561-3337-28A4-5BED9DCC3ED6}"/>
          </ac:graphicFrameMkLst>
        </pc:graphicFrameChg>
        <pc:cxnChg chg="add mod">
          <ac:chgData name="Dmitriy Shumekov" userId="ffbf198107bbd5ce" providerId="LiveId" clId="{4D67C7A2-FE00-4525-AF5E-9335BFF471AC}" dt="2025-01-13T11:34:16.499" v="942"/>
          <ac:cxnSpMkLst>
            <pc:docMk/>
            <pc:sldMk cId="1120273757" sldId="317"/>
            <ac:cxnSpMk id="6" creationId="{8555B372-6DE3-8A6C-A298-F1BC1DE299D1}"/>
          </ac:cxnSpMkLst>
        </pc:cxnChg>
        <pc:cxnChg chg="add mod">
          <ac:chgData name="Dmitriy Shumekov" userId="ffbf198107bbd5ce" providerId="LiveId" clId="{4D67C7A2-FE00-4525-AF5E-9335BFF471AC}" dt="2025-01-13T11:34:16.499" v="942"/>
          <ac:cxnSpMkLst>
            <pc:docMk/>
            <pc:sldMk cId="1120273757" sldId="317"/>
            <ac:cxnSpMk id="7" creationId="{CF1F34B0-42DE-11B0-A9A3-5E624684B891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059128056" sldId="318"/>
        </pc:sldMkLst>
        <pc:spChg chg="mod">
          <ac:chgData name="Dmitriy Shumekov" userId="ffbf198107bbd5ce" providerId="LiveId" clId="{4D67C7A2-FE00-4525-AF5E-9335BFF471AC}" dt="2025-01-27T12:35:13.793" v="6134"/>
          <ac:spMkLst>
            <pc:docMk/>
            <pc:sldMk cId="2059128056" sldId="318"/>
            <ac:spMk id="2" creationId="{2E12E118-EA75-49A1-D2C9-C37F750DF3A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59128056" sldId="318"/>
            <ac:spMk id="3" creationId="{1BBB86AF-F5FF-A9E5-B17D-C58BEE3D7855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4" creationId="{71FA0D64-F79E-FDF5-CAD5-62991EE9330E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5" creationId="{E2D3D7C9-6756-1F02-9EFA-14DE249348D4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8" creationId="{1A12F910-C17E-B752-AB86-989342EB740E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9" creationId="{EC41A29A-3FF4-BC36-F076-35CD6214A0E6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0" creationId="{3CC3EA24-5E0A-502D-53D1-083611AA216E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4" creationId="{5C065F2B-FFB3-AFF3-DFC1-9D7A7156EDF6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5" creationId="{A5960EB2-7F63-9736-29F4-39CF3F4FD5A1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6" creationId="{D2D0D8A7-45F3-5FA7-491F-541454DF98D5}"/>
          </ac:spMkLst>
        </pc:spChg>
        <pc:spChg chg="add mod">
          <ac:chgData name="Dmitriy Shumekov" userId="ffbf198107bbd5ce" providerId="LiveId" clId="{4D67C7A2-FE00-4525-AF5E-9335BFF471AC}" dt="2025-01-13T11:34:17.230" v="943"/>
          <ac:spMkLst>
            <pc:docMk/>
            <pc:sldMk cId="2059128056" sldId="318"/>
            <ac:spMk id="17" creationId="{AC123013-E211-9C8D-B92A-56F86F2E4FAD}"/>
          </ac:spMkLst>
        </pc:sp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1" creationId="{7D65B23D-D0F4-38A2-ABA5-2D2CDEBF0EBB}"/>
          </ac:graphicFrameMkLst>
        </pc:graphicFrame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2" creationId="{1DFA7567-8FCE-387C-5951-9DD041644F1F}"/>
          </ac:graphicFrameMkLst>
        </pc:graphicFrame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3" creationId="{78ADFD77-FAD0-2059-B9AE-D7A5B23C60C7}"/>
          </ac:graphicFrameMkLst>
        </pc:graphicFrameChg>
        <pc:graphicFrameChg chg="add mod">
          <ac:chgData name="Dmitriy Shumekov" userId="ffbf198107bbd5ce" providerId="LiveId" clId="{4D67C7A2-FE00-4525-AF5E-9335BFF471AC}" dt="2025-01-13T13:05:31.367" v="1717"/>
          <ac:graphicFrameMkLst>
            <pc:docMk/>
            <pc:sldMk cId="2059128056" sldId="318"/>
            <ac:graphicFrameMk id="18" creationId="{9876E473-81F6-E7C8-5D42-A1C0E048C988}"/>
          </ac:graphicFrameMkLst>
        </pc:graphicFrameChg>
        <pc:graphicFrameChg chg="add mod">
          <ac:chgData name="Dmitriy Shumekov" userId="ffbf198107bbd5ce" providerId="LiveId" clId="{4D67C7A2-FE00-4525-AF5E-9335BFF471AC}" dt="2025-01-13T11:34:17.230" v="943"/>
          <ac:graphicFrameMkLst>
            <pc:docMk/>
            <pc:sldMk cId="2059128056" sldId="318"/>
            <ac:graphicFrameMk id="19" creationId="{4A98955E-25A0-D59B-E496-0FED8589C740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53.319" v="1414"/>
          <ac:graphicFrameMkLst>
            <pc:docMk/>
            <pc:sldMk cId="2059128056" sldId="318"/>
            <ac:graphicFrameMk id="21" creationId="{90A3AE17-3C80-345A-5A78-3F4CB77F6DA9}"/>
          </ac:graphicFrameMkLst>
        </pc:graphicFrameChg>
        <pc:cxnChg chg="add mod">
          <ac:chgData name="Dmitriy Shumekov" userId="ffbf198107bbd5ce" providerId="LiveId" clId="{4D67C7A2-FE00-4525-AF5E-9335BFF471AC}" dt="2025-01-13T11:34:17.230" v="943"/>
          <ac:cxnSpMkLst>
            <pc:docMk/>
            <pc:sldMk cId="2059128056" sldId="318"/>
            <ac:cxnSpMk id="6" creationId="{B1B771C5-908B-E055-4AC9-2E7B767E26AB}"/>
          </ac:cxnSpMkLst>
        </pc:cxnChg>
        <pc:cxnChg chg="add mod">
          <ac:chgData name="Dmitriy Shumekov" userId="ffbf198107bbd5ce" providerId="LiveId" clId="{4D67C7A2-FE00-4525-AF5E-9335BFF471AC}" dt="2025-01-13T11:34:17.230" v="943"/>
          <ac:cxnSpMkLst>
            <pc:docMk/>
            <pc:sldMk cId="2059128056" sldId="318"/>
            <ac:cxnSpMk id="7" creationId="{79A9C52D-8CAA-A30F-881F-C7405BFC82AF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976716502" sldId="319"/>
        </pc:sldMkLst>
        <pc:spChg chg="mod">
          <ac:chgData name="Dmitriy Shumekov" userId="ffbf198107bbd5ce" providerId="LiveId" clId="{4D67C7A2-FE00-4525-AF5E-9335BFF471AC}" dt="2025-01-27T12:35:15.471" v="6135"/>
          <ac:spMkLst>
            <pc:docMk/>
            <pc:sldMk cId="976716502" sldId="319"/>
            <ac:spMk id="2" creationId="{F0D329A7-33AF-E339-72FD-D0C2BBE27364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976716502" sldId="319"/>
            <ac:spMk id="3" creationId="{D5E2ECE0-22D3-2813-C9B4-3CDC77CE8093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4" creationId="{D1F240F5-3672-47D6-351E-00D24E290030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5" creationId="{6F9B1FFD-268E-C38A-B311-71D1A4A4EAE1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8" creationId="{09B9F128-0E28-7C58-C8AE-4012931B32C0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9" creationId="{A2A8EBEB-0756-3B21-828C-C36AAE5CED52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0" creationId="{D87148E0-8EA8-AB2F-6C9E-4127FD486D97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4" creationId="{DA53282D-17AF-A6A3-06F9-9094C9B1CEF7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5" creationId="{B50FBCC4-2ABF-600B-5980-5DAC53557BF5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6" creationId="{B3FE254A-B47E-D483-91C7-3809F8CCE139}"/>
          </ac:spMkLst>
        </pc:spChg>
        <pc:spChg chg="add mod">
          <ac:chgData name="Dmitriy Shumekov" userId="ffbf198107bbd5ce" providerId="LiveId" clId="{4D67C7A2-FE00-4525-AF5E-9335BFF471AC}" dt="2025-01-13T11:34:18.571" v="944"/>
          <ac:spMkLst>
            <pc:docMk/>
            <pc:sldMk cId="976716502" sldId="319"/>
            <ac:spMk id="17" creationId="{96E5416A-CCAF-F10B-4114-693AB677F143}"/>
          </ac:spMkLst>
        </pc:sp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1" creationId="{EA9D59AD-5EE7-C9CC-14B1-4F6B91729838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2" creationId="{3D5E6D46-E70C-1E63-1BC7-AE0FF0CD22C8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3" creationId="{24BC8E07-6C0B-FEF7-F3F6-F2862BD3859B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8" creationId="{25321A32-038A-9420-A127-552A0402C64A}"/>
          </ac:graphicFrameMkLst>
        </pc:graphicFrameChg>
        <pc:graphicFrameChg chg="add mod">
          <ac:chgData name="Dmitriy Shumekov" userId="ffbf198107bbd5ce" providerId="LiveId" clId="{4D67C7A2-FE00-4525-AF5E-9335BFF471AC}" dt="2025-01-13T11:34:18.571" v="944"/>
          <ac:graphicFrameMkLst>
            <pc:docMk/>
            <pc:sldMk cId="976716502" sldId="319"/>
            <ac:graphicFrameMk id="19" creationId="{A53C0DC3-8690-6690-E155-472C84E7B986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5:57.116" v="1415"/>
          <ac:graphicFrameMkLst>
            <pc:docMk/>
            <pc:sldMk cId="976716502" sldId="319"/>
            <ac:graphicFrameMk id="21" creationId="{E981D06B-47ED-7078-3209-5F4EC04D0491}"/>
          </ac:graphicFrameMkLst>
        </pc:graphicFrameChg>
        <pc:cxnChg chg="add mod">
          <ac:chgData name="Dmitriy Shumekov" userId="ffbf198107bbd5ce" providerId="LiveId" clId="{4D67C7A2-FE00-4525-AF5E-9335BFF471AC}" dt="2025-01-13T11:34:18.571" v="944"/>
          <ac:cxnSpMkLst>
            <pc:docMk/>
            <pc:sldMk cId="976716502" sldId="319"/>
            <ac:cxnSpMk id="6" creationId="{24CAEE65-91FA-934A-7C26-B127D9E573B0}"/>
          </ac:cxnSpMkLst>
        </pc:cxnChg>
        <pc:cxnChg chg="add mod">
          <ac:chgData name="Dmitriy Shumekov" userId="ffbf198107bbd5ce" providerId="LiveId" clId="{4D67C7A2-FE00-4525-AF5E-9335BFF471AC}" dt="2025-01-13T11:34:18.571" v="944"/>
          <ac:cxnSpMkLst>
            <pc:docMk/>
            <pc:sldMk cId="976716502" sldId="319"/>
            <ac:cxnSpMk id="7" creationId="{78E2D2D9-D630-8DB8-3AD8-C047A3B2600C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837659538" sldId="320"/>
        </pc:sldMkLst>
        <pc:spChg chg="mod">
          <ac:chgData name="Dmitriy Shumekov" userId="ffbf198107bbd5ce" providerId="LiveId" clId="{4D67C7A2-FE00-4525-AF5E-9335BFF471AC}" dt="2025-01-27T12:35:17.297" v="6136"/>
          <ac:spMkLst>
            <pc:docMk/>
            <pc:sldMk cId="2837659538" sldId="320"/>
            <ac:spMk id="2" creationId="{69606FCA-62B7-3788-59E0-5EAA80ECC25A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837659538" sldId="320"/>
            <ac:spMk id="3" creationId="{EBF9E1C8-3332-78F9-91A2-AFB68E5AE564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4" creationId="{7776DA8F-D5C1-678C-9893-0EE2AD908886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5" creationId="{7D090D0F-3F38-C78C-ECE8-058DFED983F5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8" creationId="{9DAAB927-99EE-6CA2-558E-8941CB7ACFD2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9" creationId="{C5700693-6533-731A-69FC-F1CAFDF00DC9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0" creationId="{E31B7703-B44E-570F-5F31-C608F4E126D5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4" creationId="{F98B0E9E-7912-154E-5967-7315B9255BAB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5" creationId="{E23AD36B-04C7-6849-E911-F06BCCA3E06F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6" creationId="{2A36C1A5-A060-68CB-A93C-52B14FC926BA}"/>
          </ac:spMkLst>
        </pc:spChg>
        <pc:spChg chg="add mod">
          <ac:chgData name="Dmitriy Shumekov" userId="ffbf198107bbd5ce" providerId="LiveId" clId="{4D67C7A2-FE00-4525-AF5E-9335BFF471AC}" dt="2025-01-13T11:34:19.047" v="945"/>
          <ac:spMkLst>
            <pc:docMk/>
            <pc:sldMk cId="2837659538" sldId="320"/>
            <ac:spMk id="17" creationId="{44779BD1-EA36-EB44-99BB-D566EF82A38F}"/>
          </ac:spMkLst>
        </pc:spChg>
        <pc:graphicFrameChg chg="add mod">
          <ac:chgData name="Dmitriy Shumekov" userId="ffbf198107bbd5ce" providerId="LiveId" clId="{4D67C7A2-FE00-4525-AF5E-9335BFF471AC}" dt="2025-01-13T11:34:19.047" v="945"/>
          <ac:graphicFrameMkLst>
            <pc:docMk/>
            <pc:sldMk cId="2837659538" sldId="320"/>
            <ac:graphicFrameMk id="11" creationId="{C82328DE-79C9-66D5-9929-9DA2F5A1D68A}"/>
          </ac:graphicFrameMkLst>
        </pc:graphicFrameChg>
        <pc:graphicFrameChg chg="add mod">
          <ac:chgData name="Dmitriy Shumekov" userId="ffbf198107bbd5ce" providerId="LiveId" clId="{4D67C7A2-FE00-4525-AF5E-9335BFF471AC}" dt="2025-01-13T11:34:19.047" v="945"/>
          <ac:graphicFrameMkLst>
            <pc:docMk/>
            <pc:sldMk cId="2837659538" sldId="320"/>
            <ac:graphicFrameMk id="12" creationId="{0339B1D1-B290-8C3E-BEC2-CC275E92E719}"/>
          </ac:graphicFrameMkLst>
        </pc:graphicFrameChg>
        <pc:graphicFrameChg chg="add mod">
          <ac:chgData name="Dmitriy Shumekov" userId="ffbf198107bbd5ce" providerId="LiveId" clId="{4D67C7A2-FE00-4525-AF5E-9335BFF471AC}" dt="2025-01-13T12:59:50.792" v="1640"/>
          <ac:graphicFrameMkLst>
            <pc:docMk/>
            <pc:sldMk cId="2837659538" sldId="320"/>
            <ac:graphicFrameMk id="13" creationId="{D398F241-E3E6-6C44-8625-4842D4E61B86}"/>
          </ac:graphicFrameMkLst>
        </pc:graphicFrameChg>
        <pc:graphicFrameChg chg="add mod">
          <ac:chgData name="Dmitriy Shumekov" userId="ffbf198107bbd5ce" providerId="LiveId" clId="{4D67C7A2-FE00-4525-AF5E-9335BFF471AC}" dt="2025-01-13T13:22:05.617" v="1724"/>
          <ac:graphicFrameMkLst>
            <pc:docMk/>
            <pc:sldMk cId="2837659538" sldId="320"/>
            <ac:graphicFrameMk id="18" creationId="{A11A9068-4A82-0B33-AE61-31BBA9A8D598}"/>
          </ac:graphicFrameMkLst>
        </pc:graphicFrameChg>
        <pc:graphicFrameChg chg="add mod">
          <ac:chgData name="Dmitriy Shumekov" userId="ffbf198107bbd5ce" providerId="LiveId" clId="{4D67C7A2-FE00-4525-AF5E-9335BFF471AC}" dt="2025-01-13T11:34:19.047" v="945"/>
          <ac:graphicFrameMkLst>
            <pc:docMk/>
            <pc:sldMk cId="2837659538" sldId="320"/>
            <ac:graphicFrameMk id="19" creationId="{28D347B6-2F13-4EA9-E1DF-261DDA305180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00.830" v="1416"/>
          <ac:graphicFrameMkLst>
            <pc:docMk/>
            <pc:sldMk cId="2837659538" sldId="320"/>
            <ac:graphicFrameMk id="21" creationId="{8405E63E-B8AE-40E2-2BF5-F1FA95691368}"/>
          </ac:graphicFrameMkLst>
        </pc:graphicFrameChg>
        <pc:cxnChg chg="add mod">
          <ac:chgData name="Dmitriy Shumekov" userId="ffbf198107bbd5ce" providerId="LiveId" clId="{4D67C7A2-FE00-4525-AF5E-9335BFF471AC}" dt="2025-01-13T11:34:19.047" v="945"/>
          <ac:cxnSpMkLst>
            <pc:docMk/>
            <pc:sldMk cId="2837659538" sldId="320"/>
            <ac:cxnSpMk id="6" creationId="{AD51288B-A49A-C4A4-9CDC-9BA0F0FFA82B}"/>
          </ac:cxnSpMkLst>
        </pc:cxnChg>
        <pc:cxnChg chg="add mod">
          <ac:chgData name="Dmitriy Shumekov" userId="ffbf198107bbd5ce" providerId="LiveId" clId="{4D67C7A2-FE00-4525-AF5E-9335BFF471AC}" dt="2025-01-13T11:34:19.047" v="945"/>
          <ac:cxnSpMkLst>
            <pc:docMk/>
            <pc:sldMk cId="2837659538" sldId="320"/>
            <ac:cxnSpMk id="7" creationId="{9E6018E7-7FF4-61E7-3773-CB28C1A5B502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499613601" sldId="321"/>
        </pc:sldMkLst>
        <pc:spChg chg="mod">
          <ac:chgData name="Dmitriy Shumekov" userId="ffbf198107bbd5ce" providerId="LiveId" clId="{4D67C7A2-FE00-4525-AF5E-9335BFF471AC}" dt="2025-01-27T12:35:19.592" v="6137"/>
          <ac:spMkLst>
            <pc:docMk/>
            <pc:sldMk cId="2499613601" sldId="321"/>
            <ac:spMk id="2" creationId="{6F327032-87B6-6178-2076-AD1621D128F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99613601" sldId="321"/>
            <ac:spMk id="3" creationId="{F4587D59-A3FB-CE3D-0AC7-F52A2E825D6C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4" creationId="{D582FD55-C626-1A9D-CC16-5292F397962A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5" creationId="{E2629204-A72B-F562-08B0-BA95686011F0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8" creationId="{FA5699EB-7C1C-1EE4-BF63-E0A7CFF5BCC4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9" creationId="{1E2258F8-D24F-D2B9-7FF1-A119971547DE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0" creationId="{EDEB76CA-3728-FBF6-2E68-FBF28FC8BCE5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4" creationId="{2E38E755-B89A-ECC7-9C10-497A1B28689B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5" creationId="{A3D08569-9C61-2BDD-D731-A368A840F134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6" creationId="{81A4E312-4D3D-D935-F47D-20E925CE63C0}"/>
          </ac:spMkLst>
        </pc:spChg>
        <pc:spChg chg="add mod">
          <ac:chgData name="Dmitriy Shumekov" userId="ffbf198107bbd5ce" providerId="LiveId" clId="{4D67C7A2-FE00-4525-AF5E-9335BFF471AC}" dt="2025-01-13T11:34:20.811" v="946"/>
          <ac:spMkLst>
            <pc:docMk/>
            <pc:sldMk cId="2499613601" sldId="321"/>
            <ac:spMk id="17" creationId="{2ABE8679-7375-A908-F4AD-C6CC96BFD55C}"/>
          </ac:spMkLst>
        </pc:sp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1" creationId="{D81C67AE-EFB4-3273-C5DA-76D46915B753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2" creationId="{74FD4159-F89C-9FF8-72F2-1E30A2B1641B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3" creationId="{A4B8CA5F-E9AC-5AD0-FEAA-3A260D7D9170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8" creationId="{FAA0D520-CD21-9A00-A910-4A048F3ED284}"/>
          </ac:graphicFrameMkLst>
        </pc:graphicFrameChg>
        <pc:graphicFrameChg chg="add mod">
          <ac:chgData name="Dmitriy Shumekov" userId="ffbf198107bbd5ce" providerId="LiveId" clId="{4D67C7A2-FE00-4525-AF5E-9335BFF471AC}" dt="2025-01-13T11:34:20.811" v="946"/>
          <ac:graphicFrameMkLst>
            <pc:docMk/>
            <pc:sldMk cId="2499613601" sldId="321"/>
            <ac:graphicFrameMk id="19" creationId="{61128408-D198-5B44-7830-AF86C1FC9EC8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05.070" v="1417"/>
          <ac:graphicFrameMkLst>
            <pc:docMk/>
            <pc:sldMk cId="2499613601" sldId="321"/>
            <ac:graphicFrameMk id="21" creationId="{E351BD26-9BDC-E634-A0FC-74909336A74C}"/>
          </ac:graphicFrameMkLst>
        </pc:graphicFrameChg>
        <pc:cxnChg chg="add mod">
          <ac:chgData name="Dmitriy Shumekov" userId="ffbf198107bbd5ce" providerId="LiveId" clId="{4D67C7A2-FE00-4525-AF5E-9335BFF471AC}" dt="2025-01-13T11:34:20.811" v="946"/>
          <ac:cxnSpMkLst>
            <pc:docMk/>
            <pc:sldMk cId="2499613601" sldId="321"/>
            <ac:cxnSpMk id="6" creationId="{B55403E5-DE8B-415E-5050-B7460A9DB386}"/>
          </ac:cxnSpMkLst>
        </pc:cxnChg>
        <pc:cxnChg chg="add mod">
          <ac:chgData name="Dmitriy Shumekov" userId="ffbf198107bbd5ce" providerId="LiveId" clId="{4D67C7A2-FE00-4525-AF5E-9335BFF471AC}" dt="2025-01-13T11:34:20.811" v="946"/>
          <ac:cxnSpMkLst>
            <pc:docMk/>
            <pc:sldMk cId="2499613601" sldId="321"/>
            <ac:cxnSpMk id="7" creationId="{704B9B25-EF6B-CA63-E591-4A7FB1D1A9D6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715023076" sldId="322"/>
        </pc:sldMkLst>
        <pc:spChg chg="mod">
          <ac:chgData name="Dmitriy Shumekov" userId="ffbf198107bbd5ce" providerId="LiveId" clId="{4D67C7A2-FE00-4525-AF5E-9335BFF471AC}" dt="2025-01-27T12:35:21.341" v="6138"/>
          <ac:spMkLst>
            <pc:docMk/>
            <pc:sldMk cId="3715023076" sldId="322"/>
            <ac:spMk id="2" creationId="{61F80ACD-99BB-9459-DF0F-FD5807176C0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715023076" sldId="322"/>
            <ac:spMk id="3" creationId="{4167FCF6-0008-7284-85B9-64C250B7E017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4" creationId="{405B9EB2-7068-3122-6823-D6152D4E2A28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5" creationId="{A8B83FC8-EF11-BCAE-F03B-8E257F54FD93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8" creationId="{F86CF108-45D8-CE13-5859-272F8942624E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9" creationId="{08810AF6-DAD3-343F-D617-E50C0AC7D6E7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0" creationId="{58ABC4A3-324B-5424-B5F2-C59BD5B6AF61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4" creationId="{70491735-2947-F4C3-8F8A-E27C416D1043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5" creationId="{1D5EA58F-4678-0C8D-75F2-C90E8BE1B86B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6" creationId="{4C89A0E8-CD70-FFE3-9D19-DCBF7450DD37}"/>
          </ac:spMkLst>
        </pc:spChg>
        <pc:spChg chg="add mod">
          <ac:chgData name="Dmitriy Shumekov" userId="ffbf198107bbd5ce" providerId="LiveId" clId="{4D67C7A2-FE00-4525-AF5E-9335BFF471AC}" dt="2025-01-13T11:34:21.348" v="947"/>
          <ac:spMkLst>
            <pc:docMk/>
            <pc:sldMk cId="3715023076" sldId="322"/>
            <ac:spMk id="17" creationId="{C80F1C52-9406-48EB-7555-6CD8046B7C3D}"/>
          </ac:spMkLst>
        </pc:sp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1" creationId="{4D479F71-C3CB-F341-DAC9-66CD60E11A7A}"/>
          </ac:graphicFrameMkLst>
        </pc:graphicFrame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2" creationId="{C6992F92-DCDD-5BBE-B00D-2632B4F6A2FB}"/>
          </ac:graphicFrameMkLst>
        </pc:graphicFrame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3" creationId="{F822BF44-44E6-81C4-4296-AF0EC8216659}"/>
          </ac:graphicFrameMkLst>
        </pc:graphicFrameChg>
        <pc:graphicFrameChg chg="add mod">
          <ac:chgData name="Dmitriy Shumekov" userId="ffbf198107bbd5ce" providerId="LiveId" clId="{4D67C7A2-FE00-4525-AF5E-9335BFF471AC}" dt="2025-01-13T13:22:32.493" v="1731"/>
          <ac:graphicFrameMkLst>
            <pc:docMk/>
            <pc:sldMk cId="3715023076" sldId="322"/>
            <ac:graphicFrameMk id="18" creationId="{35AC3FCD-350C-180C-557B-DBB5C18FECA7}"/>
          </ac:graphicFrameMkLst>
        </pc:graphicFrameChg>
        <pc:graphicFrameChg chg="add mod">
          <ac:chgData name="Dmitriy Shumekov" userId="ffbf198107bbd5ce" providerId="LiveId" clId="{4D67C7A2-FE00-4525-AF5E-9335BFF471AC}" dt="2025-01-13T11:34:21.348" v="947"/>
          <ac:graphicFrameMkLst>
            <pc:docMk/>
            <pc:sldMk cId="3715023076" sldId="322"/>
            <ac:graphicFrameMk id="19" creationId="{4584F48B-67C3-DDEF-3173-0D0E1715D218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09.516" v="1418"/>
          <ac:graphicFrameMkLst>
            <pc:docMk/>
            <pc:sldMk cId="3715023076" sldId="322"/>
            <ac:graphicFrameMk id="21" creationId="{2FF22854-A098-99D0-3186-67246E5F612F}"/>
          </ac:graphicFrameMkLst>
        </pc:graphicFrameChg>
        <pc:cxnChg chg="add mod">
          <ac:chgData name="Dmitriy Shumekov" userId="ffbf198107bbd5ce" providerId="LiveId" clId="{4D67C7A2-FE00-4525-AF5E-9335BFF471AC}" dt="2025-01-13T11:34:21.348" v="947"/>
          <ac:cxnSpMkLst>
            <pc:docMk/>
            <pc:sldMk cId="3715023076" sldId="322"/>
            <ac:cxnSpMk id="6" creationId="{308067EF-FC27-7A1A-F91D-399A94163B61}"/>
          </ac:cxnSpMkLst>
        </pc:cxnChg>
        <pc:cxnChg chg="add mod">
          <ac:chgData name="Dmitriy Shumekov" userId="ffbf198107bbd5ce" providerId="LiveId" clId="{4D67C7A2-FE00-4525-AF5E-9335BFF471AC}" dt="2025-01-13T11:34:21.348" v="947"/>
          <ac:cxnSpMkLst>
            <pc:docMk/>
            <pc:sldMk cId="3715023076" sldId="322"/>
            <ac:cxnSpMk id="7" creationId="{BFF930FD-8726-90C0-DCBC-CF53FC86A7EA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251711894" sldId="323"/>
        </pc:sldMkLst>
        <pc:spChg chg="mod">
          <ac:chgData name="Dmitriy Shumekov" userId="ffbf198107bbd5ce" providerId="LiveId" clId="{4D67C7A2-FE00-4525-AF5E-9335BFF471AC}" dt="2025-01-27T12:35:23.634" v="6139"/>
          <ac:spMkLst>
            <pc:docMk/>
            <pc:sldMk cId="3251711894" sldId="323"/>
            <ac:spMk id="2" creationId="{C7F1889C-BF5A-1A81-3F76-4AFF2625962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51711894" sldId="323"/>
            <ac:spMk id="3" creationId="{E1B1ACAF-3975-2D93-64CC-407C7D28FF89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4" creationId="{F7F831AC-3C5B-C688-AF64-324EB63FEFCB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5" creationId="{246F99DA-4721-9771-645B-AA6B20438C68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8" creationId="{EAF044CE-D366-D2AA-013B-E71AC94A29DB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9" creationId="{33D80BE2-8B94-F164-33AE-1CE9A97020F1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0" creationId="{69AD07A3-2FAC-6F27-D958-D838DDCDBB54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4" creationId="{C85F30E7-A94B-8F2E-C2B4-D40B41693CD6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5" creationId="{3E8544A2-318D-3801-036E-8C06CD2D5002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6" creationId="{371D43BA-6E93-5240-FB3A-F57F88051419}"/>
          </ac:spMkLst>
        </pc:spChg>
        <pc:spChg chg="add mod">
          <ac:chgData name="Dmitriy Shumekov" userId="ffbf198107bbd5ce" providerId="LiveId" clId="{4D67C7A2-FE00-4525-AF5E-9335BFF471AC}" dt="2025-01-13T11:34:21.819" v="948"/>
          <ac:spMkLst>
            <pc:docMk/>
            <pc:sldMk cId="3251711894" sldId="323"/>
            <ac:spMk id="17" creationId="{38D735E2-7709-82A3-F1DD-6DEF6608F65E}"/>
          </ac:spMkLst>
        </pc:sp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1" creationId="{E4AD6BF8-794A-78FA-40FD-5C90FB832561}"/>
          </ac:graphicFrameMkLst>
        </pc:graphicFrame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2" creationId="{72EA0AB0-892D-6B8B-5318-487DB1B2D79E}"/>
          </ac:graphicFrameMkLst>
        </pc:graphicFrame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3" creationId="{EB552903-9DD7-83A3-785E-D62EF9DDBFAA}"/>
          </ac:graphicFrameMkLst>
        </pc:graphicFrameChg>
        <pc:graphicFrameChg chg="add mod">
          <ac:chgData name="Dmitriy Shumekov" userId="ffbf198107bbd5ce" providerId="LiveId" clId="{4D67C7A2-FE00-4525-AF5E-9335BFF471AC}" dt="2025-01-13T13:22:47.916" v="1735"/>
          <ac:graphicFrameMkLst>
            <pc:docMk/>
            <pc:sldMk cId="3251711894" sldId="323"/>
            <ac:graphicFrameMk id="18" creationId="{B08D5B7D-DFA3-6996-7A27-A93C93CE80B9}"/>
          </ac:graphicFrameMkLst>
        </pc:graphicFrameChg>
        <pc:graphicFrameChg chg="add mod">
          <ac:chgData name="Dmitriy Shumekov" userId="ffbf198107bbd5ce" providerId="LiveId" clId="{4D67C7A2-FE00-4525-AF5E-9335BFF471AC}" dt="2025-01-13T11:34:21.819" v="948"/>
          <ac:graphicFrameMkLst>
            <pc:docMk/>
            <pc:sldMk cId="3251711894" sldId="323"/>
            <ac:graphicFrameMk id="19" creationId="{44F8360E-A65C-88C5-A21F-02305E405787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12.414" v="1419"/>
          <ac:graphicFrameMkLst>
            <pc:docMk/>
            <pc:sldMk cId="3251711894" sldId="323"/>
            <ac:graphicFrameMk id="21" creationId="{9C312913-FDD1-3D22-C570-AE28A8C27EF8}"/>
          </ac:graphicFrameMkLst>
        </pc:graphicFrameChg>
        <pc:cxnChg chg="add mod">
          <ac:chgData name="Dmitriy Shumekov" userId="ffbf198107bbd5ce" providerId="LiveId" clId="{4D67C7A2-FE00-4525-AF5E-9335BFF471AC}" dt="2025-01-13T11:34:21.819" v="948"/>
          <ac:cxnSpMkLst>
            <pc:docMk/>
            <pc:sldMk cId="3251711894" sldId="323"/>
            <ac:cxnSpMk id="6" creationId="{18DA1B41-C262-1A76-574F-74E6383CDD80}"/>
          </ac:cxnSpMkLst>
        </pc:cxnChg>
        <pc:cxnChg chg="add mod">
          <ac:chgData name="Dmitriy Shumekov" userId="ffbf198107bbd5ce" providerId="LiveId" clId="{4D67C7A2-FE00-4525-AF5E-9335BFF471AC}" dt="2025-01-13T11:34:21.819" v="948"/>
          <ac:cxnSpMkLst>
            <pc:docMk/>
            <pc:sldMk cId="3251711894" sldId="323"/>
            <ac:cxnSpMk id="7" creationId="{DEE5609C-8293-F395-6008-3874B1D62ED3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414055224" sldId="324"/>
        </pc:sldMkLst>
        <pc:spChg chg="mod">
          <ac:chgData name="Dmitriy Shumekov" userId="ffbf198107bbd5ce" providerId="LiveId" clId="{4D67C7A2-FE00-4525-AF5E-9335BFF471AC}" dt="2025-01-27T12:35:25.379" v="6140"/>
          <ac:spMkLst>
            <pc:docMk/>
            <pc:sldMk cId="1414055224" sldId="324"/>
            <ac:spMk id="2" creationId="{E43303C4-225B-D753-5D72-EAA9047535D2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414055224" sldId="324"/>
            <ac:spMk id="3" creationId="{F82EF384-7F9B-791D-F10A-EBDF548B3F62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4" creationId="{9B656E7B-CA8A-013F-1580-2070C75C3205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5" creationId="{2B52C79B-84A2-A1CE-F97D-5AFCE53EEFEB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8" creationId="{DC0417F9-2812-736B-05A4-6BF6D9570835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9" creationId="{6F164E36-9439-B1C9-24CD-98AEBC0DB7A5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0" creationId="{4D29E2BF-A290-0B9E-26BE-B39691D5A7AB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4" creationId="{485B0137-A81D-4A1B-87A7-5B1ADA5B498E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5" creationId="{F6A98ECC-8AC0-6E4C-216C-FFE2A49A5F68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6" creationId="{CA76C0C5-4AF0-4617-5ED9-8C8E4F4B1814}"/>
          </ac:spMkLst>
        </pc:spChg>
        <pc:spChg chg="add mod">
          <ac:chgData name="Dmitriy Shumekov" userId="ffbf198107bbd5ce" providerId="LiveId" clId="{4D67C7A2-FE00-4525-AF5E-9335BFF471AC}" dt="2025-01-13T11:34:22.278" v="949"/>
          <ac:spMkLst>
            <pc:docMk/>
            <pc:sldMk cId="1414055224" sldId="324"/>
            <ac:spMk id="17" creationId="{6AA91523-8A8B-8552-AD75-2983D5EA8F91}"/>
          </ac:spMkLst>
        </pc:sp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1" creationId="{CCC739E6-3A52-D52F-04DE-8E2904A15B4D}"/>
          </ac:graphicFrameMkLst>
        </pc:graphicFrame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2" creationId="{3AFFBFAD-EE51-0AB5-A552-8EF2E9A83C8D}"/>
          </ac:graphicFrameMkLst>
        </pc:graphicFrame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3" creationId="{072E50F4-5C82-8A79-0E18-0AB5DF464EA0}"/>
          </ac:graphicFrameMkLst>
        </pc:graphicFrameChg>
        <pc:graphicFrameChg chg="add mod">
          <ac:chgData name="Dmitriy Shumekov" userId="ffbf198107bbd5ce" providerId="LiveId" clId="{4D67C7A2-FE00-4525-AF5E-9335BFF471AC}" dt="2025-01-13T13:23:02.269" v="1739"/>
          <ac:graphicFrameMkLst>
            <pc:docMk/>
            <pc:sldMk cId="1414055224" sldId="324"/>
            <ac:graphicFrameMk id="18" creationId="{9FF41D28-FFC0-45CF-D3B9-020A43F51E08}"/>
          </ac:graphicFrameMkLst>
        </pc:graphicFrameChg>
        <pc:graphicFrameChg chg="add mod">
          <ac:chgData name="Dmitriy Shumekov" userId="ffbf198107bbd5ce" providerId="LiveId" clId="{4D67C7A2-FE00-4525-AF5E-9335BFF471AC}" dt="2025-01-13T11:34:22.278" v="949"/>
          <ac:graphicFrameMkLst>
            <pc:docMk/>
            <pc:sldMk cId="1414055224" sldId="324"/>
            <ac:graphicFrameMk id="19" creationId="{DFEF54E8-7263-E9B5-F0D0-089AF3975A7E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14.639" v="1420"/>
          <ac:graphicFrameMkLst>
            <pc:docMk/>
            <pc:sldMk cId="1414055224" sldId="324"/>
            <ac:graphicFrameMk id="21" creationId="{8FEFBD91-9A62-CA7C-5DCD-FE258D7E4D00}"/>
          </ac:graphicFrameMkLst>
        </pc:graphicFrameChg>
        <pc:cxnChg chg="add mod">
          <ac:chgData name="Dmitriy Shumekov" userId="ffbf198107bbd5ce" providerId="LiveId" clId="{4D67C7A2-FE00-4525-AF5E-9335BFF471AC}" dt="2025-01-13T11:34:22.278" v="949"/>
          <ac:cxnSpMkLst>
            <pc:docMk/>
            <pc:sldMk cId="1414055224" sldId="324"/>
            <ac:cxnSpMk id="6" creationId="{BDDDBCBF-DF9A-89B3-15B3-9A519B6DD694}"/>
          </ac:cxnSpMkLst>
        </pc:cxnChg>
        <pc:cxnChg chg="add mod">
          <ac:chgData name="Dmitriy Shumekov" userId="ffbf198107bbd5ce" providerId="LiveId" clId="{4D67C7A2-FE00-4525-AF5E-9335BFF471AC}" dt="2025-01-13T11:34:22.278" v="949"/>
          <ac:cxnSpMkLst>
            <pc:docMk/>
            <pc:sldMk cId="1414055224" sldId="324"/>
            <ac:cxnSpMk id="7" creationId="{18A4D05D-5003-2136-AC03-E24672DC0773}"/>
          </ac:cxnSpMkLst>
        </pc:cxn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235473256" sldId="325"/>
        </pc:sldMkLst>
        <pc:spChg chg="mod">
          <ac:chgData name="Dmitriy Shumekov" userId="ffbf198107bbd5ce" providerId="LiveId" clId="{4D67C7A2-FE00-4525-AF5E-9335BFF471AC}" dt="2025-01-27T12:35:27.267" v="6141"/>
          <ac:spMkLst>
            <pc:docMk/>
            <pc:sldMk cId="1235473256" sldId="325"/>
            <ac:spMk id="2" creationId="{F3256B15-AAB9-C8AF-FF17-B228FEC316E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35473256" sldId="325"/>
            <ac:spMk id="3" creationId="{C35D1B81-7F10-9C57-482A-C18464C883A0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4" creationId="{2B60EA79-B4D1-1892-99F8-611666B735D5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5" creationId="{54862AFD-B912-4276-60BA-14A86B265981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8" creationId="{BFB4CE45-4809-0868-72C9-FE1992C8E42C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9" creationId="{517C2C3A-6B67-72C2-C349-F8823F325AF0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0" creationId="{C736AC43-9990-907C-E6DB-63E278D6961F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4" creationId="{DDC0CEC8-C8E9-82E8-EB82-4DB7920178CB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5" creationId="{2C5505B7-6C89-5ED6-169E-6D904EDF093B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6" creationId="{9898E1C5-8312-9A3A-A34B-8D409C563364}"/>
          </ac:spMkLst>
        </pc:spChg>
        <pc:spChg chg="add mod">
          <ac:chgData name="Dmitriy Shumekov" userId="ffbf198107bbd5ce" providerId="LiveId" clId="{4D67C7A2-FE00-4525-AF5E-9335BFF471AC}" dt="2025-01-13T11:34:22.707" v="950"/>
          <ac:spMkLst>
            <pc:docMk/>
            <pc:sldMk cId="1235473256" sldId="325"/>
            <ac:spMk id="17" creationId="{ABC9A569-6540-E952-6267-20DB48DC3CBE}"/>
          </ac:spMkLst>
        </pc:spChg>
        <pc:graphicFrameChg chg="add mod">
          <ac:chgData name="Dmitriy Shumekov" userId="ffbf198107bbd5ce" providerId="LiveId" clId="{4D67C7A2-FE00-4525-AF5E-9335BFF471AC}" dt="2025-01-13T11:34:22.707" v="950"/>
          <ac:graphicFrameMkLst>
            <pc:docMk/>
            <pc:sldMk cId="1235473256" sldId="325"/>
            <ac:graphicFrameMk id="11" creationId="{5D46A32D-0AC4-97E6-5860-352A2D68D13E}"/>
          </ac:graphicFrameMkLst>
        </pc:graphicFrameChg>
        <pc:graphicFrameChg chg="add mod">
          <ac:chgData name="Dmitriy Shumekov" userId="ffbf198107bbd5ce" providerId="LiveId" clId="{4D67C7A2-FE00-4525-AF5E-9335BFF471AC}" dt="2025-01-13T11:34:22.707" v="950"/>
          <ac:graphicFrameMkLst>
            <pc:docMk/>
            <pc:sldMk cId="1235473256" sldId="325"/>
            <ac:graphicFrameMk id="12" creationId="{AC6E0371-02A1-AB22-7751-40E22CAA4641}"/>
          </ac:graphicFrameMkLst>
        </pc:graphicFrameChg>
        <pc:graphicFrameChg chg="add mod">
          <ac:chgData name="Dmitriy Shumekov" userId="ffbf198107bbd5ce" providerId="LiveId" clId="{4D67C7A2-FE00-4525-AF5E-9335BFF471AC}" dt="2025-01-13T13:00:48.431" v="1656" actId="403"/>
          <ac:graphicFrameMkLst>
            <pc:docMk/>
            <pc:sldMk cId="1235473256" sldId="325"/>
            <ac:graphicFrameMk id="13" creationId="{57CC1A18-62C0-C724-D6C3-B60F9FB9774B}"/>
          </ac:graphicFrameMkLst>
        </pc:graphicFrameChg>
        <pc:graphicFrameChg chg="add mod">
          <ac:chgData name="Dmitriy Shumekov" userId="ffbf198107bbd5ce" providerId="LiveId" clId="{4D67C7A2-FE00-4525-AF5E-9335BFF471AC}" dt="2025-01-13T13:23:18.467" v="1743"/>
          <ac:graphicFrameMkLst>
            <pc:docMk/>
            <pc:sldMk cId="1235473256" sldId="325"/>
            <ac:graphicFrameMk id="18" creationId="{E1FA7337-62FB-A450-01FB-8C753E06F24B}"/>
          </ac:graphicFrameMkLst>
        </pc:graphicFrameChg>
        <pc:graphicFrameChg chg="add mod">
          <ac:chgData name="Dmitriy Shumekov" userId="ffbf198107bbd5ce" providerId="LiveId" clId="{4D67C7A2-FE00-4525-AF5E-9335BFF471AC}" dt="2025-01-13T11:34:22.707" v="950"/>
          <ac:graphicFrameMkLst>
            <pc:docMk/>
            <pc:sldMk cId="1235473256" sldId="325"/>
            <ac:graphicFrameMk id="19" creationId="{37B325AC-9015-FB4D-75D4-4716ADEDA26F}"/>
          </ac:graphicFrameMkLst>
        </pc:graphicFrameChg>
        <pc:graphicFrameChg chg="add mod modGraphic">
          <ac:chgData name="Dmitriy Shumekov" userId="ffbf198107bbd5ce" providerId="LiveId" clId="{4D67C7A2-FE00-4525-AF5E-9335BFF471AC}" dt="2025-01-13T12:16:17.654" v="1421"/>
          <ac:graphicFrameMkLst>
            <pc:docMk/>
            <pc:sldMk cId="1235473256" sldId="325"/>
            <ac:graphicFrameMk id="21" creationId="{9BB950A2-8593-C37A-4371-BCCE50212EC1}"/>
          </ac:graphicFrameMkLst>
        </pc:graphicFrameChg>
        <pc:cxnChg chg="add mod">
          <ac:chgData name="Dmitriy Shumekov" userId="ffbf198107bbd5ce" providerId="LiveId" clId="{4D67C7A2-FE00-4525-AF5E-9335BFF471AC}" dt="2025-01-13T11:34:22.707" v="950"/>
          <ac:cxnSpMkLst>
            <pc:docMk/>
            <pc:sldMk cId="1235473256" sldId="325"/>
            <ac:cxnSpMk id="6" creationId="{CA115901-2215-571D-047A-82C14B1F3978}"/>
          </ac:cxnSpMkLst>
        </pc:cxnChg>
        <pc:cxnChg chg="add mod">
          <ac:chgData name="Dmitriy Shumekov" userId="ffbf198107bbd5ce" providerId="LiveId" clId="{4D67C7A2-FE00-4525-AF5E-9335BFF471AC}" dt="2025-01-13T11:34:22.707" v="950"/>
          <ac:cxnSpMkLst>
            <pc:docMk/>
            <pc:sldMk cId="1235473256" sldId="325"/>
            <ac:cxnSpMk id="7" creationId="{B3568DE2-41F0-57A1-6EA5-2E7770872013}"/>
          </ac:cxnSpMkLst>
        </pc:cxnChg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2124213785" sldId="326"/>
        </pc:sldMkLst>
        <pc:spChg chg="mod">
          <ac:chgData name="Dmitriy Shumekov" userId="ffbf198107bbd5ce" providerId="LiveId" clId="{4D67C7A2-FE00-4525-AF5E-9335BFF471AC}" dt="2025-01-14T13:00:17.390" v="4014" actId="20577"/>
          <ac:spMkLst>
            <pc:docMk/>
            <pc:sldMk cId="2124213785" sldId="326"/>
            <ac:spMk id="2" creationId="{4E8877F3-E11F-E58C-6E66-FD1654DD75B6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24213785" sldId="326"/>
            <ac:spMk id="3" creationId="{0BFDEAC0-0A2E-3C5C-2222-8C42F636DC64}"/>
          </ac:spMkLst>
        </pc:spChg>
        <pc:spChg chg="add mod">
          <ac:chgData name="Dmitriy Shumekov" userId="ffbf198107bbd5ce" providerId="LiveId" clId="{4D67C7A2-FE00-4525-AF5E-9335BFF471AC}" dt="2025-01-14T06:18:44.811" v="2433" actId="1076"/>
          <ac:spMkLst>
            <pc:docMk/>
            <pc:sldMk cId="2124213785" sldId="326"/>
            <ac:spMk id="5" creationId="{D6C9CE66-7986-F2D3-E27C-186CA1F41D4B}"/>
          </ac:spMkLst>
        </pc:spChg>
        <pc:spChg chg="add mod">
          <ac:chgData name="Dmitriy Shumekov" userId="ffbf198107bbd5ce" providerId="LiveId" clId="{4D67C7A2-FE00-4525-AF5E-9335BFF471AC}" dt="2025-01-14T06:18:44.811" v="2433" actId="1076"/>
          <ac:spMkLst>
            <pc:docMk/>
            <pc:sldMk cId="2124213785" sldId="326"/>
            <ac:spMk id="8" creationId="{4CB29D72-A42A-732E-5BEC-9A575ACE7899}"/>
          </ac:spMkLst>
        </pc:spChg>
        <pc:spChg chg="add mod">
          <ac:chgData name="Dmitriy Shumekov" userId="ffbf198107bbd5ce" providerId="LiveId" clId="{4D67C7A2-FE00-4525-AF5E-9335BFF471AC}" dt="2025-01-14T06:18:32.339" v="2430" actId="555"/>
          <ac:spMkLst>
            <pc:docMk/>
            <pc:sldMk cId="2124213785" sldId="326"/>
            <ac:spMk id="10" creationId="{18D9176F-B7C1-C93F-86DD-07ECD27A681F}"/>
          </ac:spMkLst>
        </pc:spChg>
        <pc:graphicFrameChg chg="add mod">
          <ac:chgData name="Dmitriy Shumekov" userId="ffbf198107bbd5ce" providerId="LiveId" clId="{4D67C7A2-FE00-4525-AF5E-9335BFF471AC}" dt="2025-01-14T06:18:13.102" v="2425" actId="1076"/>
          <ac:graphicFrameMkLst>
            <pc:docMk/>
            <pc:sldMk cId="2124213785" sldId="326"/>
            <ac:graphicFrameMk id="4" creationId="{CF295C55-5AAF-5494-0DBA-D9D78B13DC77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1:56.468" v="2927"/>
          <ac:graphicFrameMkLst>
            <pc:docMk/>
            <pc:sldMk cId="2124213785" sldId="326"/>
            <ac:graphicFrameMk id="6" creationId="{B68AD695-DEEC-7AFE-3BEF-792B93750D43}"/>
          </ac:graphicFrameMkLst>
        </pc:graphicFrameChg>
        <pc:graphicFrameChg chg="add mod">
          <ac:chgData name="Dmitriy Shumekov" userId="ffbf198107bbd5ce" providerId="LiveId" clId="{4D67C7A2-FE00-4525-AF5E-9335BFF471AC}" dt="2025-01-14T06:18:13.102" v="2425" actId="1076"/>
          <ac:graphicFrameMkLst>
            <pc:docMk/>
            <pc:sldMk cId="2124213785" sldId="326"/>
            <ac:graphicFrameMk id="7" creationId="{734A3223-4DBE-BAC4-1485-07EAE69FC953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2:28.828" v="2971" actId="20577"/>
          <ac:graphicFrameMkLst>
            <pc:docMk/>
            <pc:sldMk cId="2124213785" sldId="326"/>
            <ac:graphicFrameMk id="9" creationId="{F4EF4C42-D0C9-A766-2A61-D9D607EADD22}"/>
          </ac:graphicFrameMkLst>
        </pc:graphicFrameChg>
        <pc:graphicFrameChg chg="add mod modGraphic">
          <ac:chgData name="Dmitriy Shumekov" userId="ffbf198107bbd5ce" providerId="LiveId" clId="{4D67C7A2-FE00-4525-AF5E-9335BFF471AC}" dt="2025-01-14T06:37:48.637" v="2663" actId="20577"/>
          <ac:graphicFrameMkLst>
            <pc:docMk/>
            <pc:sldMk cId="2124213785" sldId="326"/>
            <ac:graphicFrameMk id="11" creationId="{50D38A6E-5B23-92B6-3DA6-8F6829139E4A}"/>
          </ac:graphicFrameMkLst>
        </pc:graphicFrameChg>
        <pc:cxnChg chg="add mod">
          <ac:chgData name="Dmitriy Shumekov" userId="ffbf198107bbd5ce" providerId="LiveId" clId="{4D67C7A2-FE00-4525-AF5E-9335BFF471AC}" dt="2025-01-14T06:18:25.636" v="2429" actId="14100"/>
          <ac:cxnSpMkLst>
            <pc:docMk/>
            <pc:sldMk cId="2124213785" sldId="326"/>
            <ac:cxnSpMk id="12" creationId="{537C6950-7B6B-CE22-ABC6-DBACC66BD7B2}"/>
          </ac:cxnSpMkLst>
        </pc:cxnChg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827237146" sldId="327"/>
        </pc:sldMkLst>
        <pc:spChg chg="mod">
          <ac:chgData name="Dmitriy Shumekov" userId="ffbf198107bbd5ce" providerId="LiveId" clId="{4D67C7A2-FE00-4525-AF5E-9335BFF471AC}" dt="2025-01-14T13:00:23.601" v="4019" actId="20577"/>
          <ac:spMkLst>
            <pc:docMk/>
            <pc:sldMk cId="827237146" sldId="327"/>
            <ac:spMk id="2" creationId="{6B304381-DBF5-7547-118D-1BDD4A63474F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827237146" sldId="327"/>
            <ac:spMk id="3" creationId="{97E467B4-CDD9-F5B4-EA75-DACD58B779F5}"/>
          </ac:spMkLst>
        </pc:spChg>
        <pc:spChg chg="add mod">
          <ac:chgData name="Dmitriy Shumekov" userId="ffbf198107bbd5ce" providerId="LiveId" clId="{4D67C7A2-FE00-4525-AF5E-9335BFF471AC}" dt="2025-01-14T06:43:49.635" v="2665"/>
          <ac:spMkLst>
            <pc:docMk/>
            <pc:sldMk cId="827237146" sldId="327"/>
            <ac:spMk id="5" creationId="{B77DD522-18B5-0374-5327-B64E2A5990AE}"/>
          </ac:spMkLst>
        </pc:spChg>
        <pc:spChg chg="add mod">
          <ac:chgData name="Dmitriy Shumekov" userId="ffbf198107bbd5ce" providerId="LiveId" clId="{4D67C7A2-FE00-4525-AF5E-9335BFF471AC}" dt="2025-01-14T06:43:49.635" v="2665"/>
          <ac:spMkLst>
            <pc:docMk/>
            <pc:sldMk cId="827237146" sldId="327"/>
            <ac:spMk id="8" creationId="{996C4C17-B170-D198-5EBD-27E8177F05D5}"/>
          </ac:spMkLst>
        </pc:spChg>
        <pc:spChg chg="add mod">
          <ac:chgData name="Dmitriy Shumekov" userId="ffbf198107bbd5ce" providerId="LiveId" clId="{4D67C7A2-FE00-4525-AF5E-9335BFF471AC}" dt="2025-01-14T06:43:49.635" v="2665"/>
          <ac:spMkLst>
            <pc:docMk/>
            <pc:sldMk cId="827237146" sldId="327"/>
            <ac:spMk id="10" creationId="{61898911-258B-D731-91FC-FB9F6269F54D}"/>
          </ac:spMkLst>
        </pc:spChg>
        <pc:graphicFrameChg chg="add mod">
          <ac:chgData name="Dmitriy Shumekov" userId="ffbf198107bbd5ce" providerId="LiveId" clId="{4D67C7A2-FE00-4525-AF5E-9335BFF471AC}" dt="2025-01-14T06:43:49.635" v="2665"/>
          <ac:graphicFrameMkLst>
            <pc:docMk/>
            <pc:sldMk cId="827237146" sldId="327"/>
            <ac:graphicFrameMk id="4" creationId="{D511F783-83E6-D4B5-C54A-48B514DF03CB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4:07.854" v="2977"/>
          <ac:graphicFrameMkLst>
            <pc:docMk/>
            <pc:sldMk cId="827237146" sldId="327"/>
            <ac:graphicFrameMk id="6" creationId="{298F721B-436E-3CF0-A8D3-D64156E1D2DA}"/>
          </ac:graphicFrameMkLst>
        </pc:graphicFrameChg>
        <pc:graphicFrameChg chg="add mod">
          <ac:chgData name="Dmitriy Shumekov" userId="ffbf198107bbd5ce" providerId="LiveId" clId="{4D67C7A2-FE00-4525-AF5E-9335BFF471AC}" dt="2025-01-14T06:43:49.635" v="2665"/>
          <ac:graphicFrameMkLst>
            <pc:docMk/>
            <pc:sldMk cId="827237146" sldId="327"/>
            <ac:graphicFrameMk id="7" creationId="{BFF60F96-488A-9DE8-4EB2-4DF1F2131493}"/>
          </ac:graphicFrameMkLst>
        </pc:graphicFrameChg>
        <pc:graphicFrameChg chg="add mod modGraphic">
          <ac:chgData name="Dmitriy Shumekov" userId="ffbf198107bbd5ce" providerId="LiveId" clId="{4D67C7A2-FE00-4525-AF5E-9335BFF471AC}" dt="2025-01-14T07:14:39.779" v="3025" actId="20577"/>
          <ac:graphicFrameMkLst>
            <pc:docMk/>
            <pc:sldMk cId="827237146" sldId="327"/>
            <ac:graphicFrameMk id="9" creationId="{EEC80D72-A1E3-95B9-0BF5-EE06C232BC24}"/>
          </ac:graphicFrameMkLst>
        </pc:graphicFrameChg>
        <pc:graphicFrameChg chg="add mod modGraphic">
          <ac:chgData name="Dmitriy Shumekov" userId="ffbf198107bbd5ce" providerId="LiveId" clId="{4D67C7A2-FE00-4525-AF5E-9335BFF471AC}" dt="2025-01-29T13:16:00.892" v="7616" actId="113"/>
          <ac:graphicFrameMkLst>
            <pc:docMk/>
            <pc:sldMk cId="827237146" sldId="327"/>
            <ac:graphicFrameMk id="11" creationId="{06124258-DAFA-1F07-A6CC-AE359E78D81F}"/>
          </ac:graphicFrameMkLst>
        </pc:graphicFrameChg>
        <pc:cxnChg chg="add mod">
          <ac:chgData name="Dmitriy Shumekov" userId="ffbf198107bbd5ce" providerId="LiveId" clId="{4D67C7A2-FE00-4525-AF5E-9335BFF471AC}" dt="2025-01-14T06:43:49.635" v="2665"/>
          <ac:cxnSpMkLst>
            <pc:docMk/>
            <pc:sldMk cId="827237146" sldId="327"/>
            <ac:cxnSpMk id="12" creationId="{672BD835-6141-53E4-89F8-AC3561FE3776}"/>
          </ac:cxnSpMkLst>
        </pc:cxnChg>
      </pc:sldChg>
      <pc:sldChg chg="modSp add del mod">
        <pc:chgData name="Dmitriy Shumekov" userId="ffbf198107bbd5ce" providerId="LiveId" clId="{4D67C7A2-FE00-4525-AF5E-9335BFF471AC}" dt="2025-01-14T06:43:22.231" v="2664" actId="47"/>
        <pc:sldMkLst>
          <pc:docMk/>
          <pc:sldMk cId="895605571" sldId="328"/>
        </pc:sldMkLst>
      </pc:sldChg>
      <pc:sldChg chg="modSp add del mod">
        <pc:chgData name="Dmitriy Shumekov" userId="ffbf198107bbd5ce" providerId="LiveId" clId="{4D67C7A2-FE00-4525-AF5E-9335BFF471AC}" dt="2025-01-30T11:38:26.609" v="7650"/>
        <pc:sldMkLst>
          <pc:docMk/>
          <pc:sldMk cId="3430085435" sldId="328"/>
        </pc:sldMkLst>
        <pc:spChg chg="mod">
          <ac:chgData name="Dmitriy Shumekov" userId="ffbf198107bbd5ce" providerId="LiveId" clId="{4D67C7A2-FE00-4525-AF5E-9335BFF471AC}" dt="2025-01-16T10:24:15.573" v="5630" actId="20577"/>
          <ac:spMkLst>
            <pc:docMk/>
            <pc:sldMk cId="3430085435" sldId="328"/>
            <ac:spMk id="6" creationId="{468105D8-A8C7-50CF-98FA-19CA26A93323}"/>
          </ac:spMkLst>
        </pc:spChg>
      </pc:sldChg>
      <pc:sldChg chg="modSp add del mod">
        <pc:chgData name="Dmitriy Shumekov" userId="ffbf198107bbd5ce" providerId="LiveId" clId="{4D67C7A2-FE00-4525-AF5E-9335BFF471AC}" dt="2025-01-14T06:59:49.846" v="2804" actId="47"/>
        <pc:sldMkLst>
          <pc:docMk/>
          <pc:sldMk cId="1438690095" sldId="329"/>
        </pc:sldMkLst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4081888773" sldId="329"/>
        </pc:sldMkLst>
        <pc:spChg chg="mod">
          <ac:chgData name="Dmitriy Shumekov" userId="ffbf198107bbd5ce" providerId="LiveId" clId="{4D67C7A2-FE00-4525-AF5E-9335BFF471AC}" dt="2025-01-27T12:35:30.312" v="6142"/>
          <ac:spMkLst>
            <pc:docMk/>
            <pc:sldMk cId="4081888773" sldId="329"/>
            <ac:spMk id="2" creationId="{A36DEA79-C8F3-D4E9-8A8D-DDED1D4A5E7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081888773" sldId="329"/>
            <ac:spMk id="3" creationId="{DB5E4A66-DC19-8BC2-C4D2-EEC5E9EEFD6A}"/>
          </ac:spMkLst>
        </pc:spChg>
        <pc:spChg chg="mod">
          <ac:chgData name="Dmitriy Shumekov" userId="ffbf198107bbd5ce" providerId="LiveId" clId="{4D67C7A2-FE00-4525-AF5E-9335BFF471AC}" dt="2025-01-14T07:03:15.447" v="2882" actId="20577"/>
          <ac:spMkLst>
            <pc:docMk/>
            <pc:sldMk cId="4081888773" sldId="329"/>
            <ac:spMk id="5" creationId="{6F969C2E-D4A4-3AA7-DE89-D304A9B476D4}"/>
          </ac:spMkLst>
        </pc:spChg>
        <pc:graphicFrameChg chg="mod">
          <ac:chgData name="Dmitriy Shumekov" userId="ffbf198107bbd5ce" providerId="LiveId" clId="{4D67C7A2-FE00-4525-AF5E-9335BFF471AC}" dt="2025-01-14T07:16:21.125" v="3030" actId="404"/>
          <ac:graphicFrameMkLst>
            <pc:docMk/>
            <pc:sldMk cId="4081888773" sldId="329"/>
            <ac:graphicFrameMk id="14" creationId="{E50D904C-0B07-0CEF-0880-374EB456025B}"/>
          </ac:graphicFrameMkLst>
        </pc:graphicFrameChg>
        <pc:graphicFrameChg chg="mod">
          <ac:chgData name="Dmitriy Shumekov" userId="ffbf198107bbd5ce" providerId="LiveId" clId="{4D67C7A2-FE00-4525-AF5E-9335BFF471AC}" dt="2025-01-14T07:17:19.854" v="3037"/>
          <ac:graphicFrameMkLst>
            <pc:docMk/>
            <pc:sldMk cId="4081888773" sldId="329"/>
            <ac:graphicFrameMk id="30" creationId="{FFB0B898-C4A3-6771-B3F7-7089CFAA236C}"/>
          </ac:graphicFrameMkLst>
        </pc:graphicFrameChg>
        <pc:graphicFrameChg chg="mod modGraphic">
          <ac:chgData name="Dmitriy Shumekov" userId="ffbf198107bbd5ce" providerId="LiveId" clId="{4D67C7A2-FE00-4525-AF5E-9335BFF471AC}" dt="2025-01-14T07:20:16.907" v="3083"/>
          <ac:graphicFrameMkLst>
            <pc:docMk/>
            <pc:sldMk cId="4081888773" sldId="329"/>
            <ac:graphicFrameMk id="34" creationId="{129E3C05-63B8-073F-D6F0-ED29F6DA395F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3067339582" sldId="330"/>
        </pc:sldMkLst>
        <pc:spChg chg="mod">
          <ac:chgData name="Dmitriy Shumekov" userId="ffbf198107bbd5ce" providerId="LiveId" clId="{4D67C7A2-FE00-4525-AF5E-9335BFF471AC}" dt="2025-01-27T12:35:32.255" v="6143"/>
          <ac:spMkLst>
            <pc:docMk/>
            <pc:sldMk cId="3067339582" sldId="330"/>
            <ac:spMk id="2" creationId="{09558798-BE0B-57AA-F337-E69B7E12605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067339582" sldId="330"/>
            <ac:spMk id="3" creationId="{F9E30F11-8087-D13D-209C-F44FCF4F4458}"/>
          </ac:spMkLst>
        </pc:spChg>
        <pc:graphicFrameChg chg="mod">
          <ac:chgData name="Dmitriy Shumekov" userId="ffbf198107bbd5ce" providerId="LiveId" clId="{4D67C7A2-FE00-4525-AF5E-9335BFF471AC}" dt="2025-01-14T07:23:40.803" v="3108" actId="14100"/>
          <ac:graphicFrameMkLst>
            <pc:docMk/>
            <pc:sldMk cId="3067339582" sldId="330"/>
            <ac:graphicFrameMk id="30" creationId="{85701A9E-6E1F-2ACC-32DF-A6E047E1B1C0}"/>
          </ac:graphicFrameMkLst>
        </pc:graphicFrameChg>
        <pc:graphicFrameChg chg="mod modGraphic">
          <ac:chgData name="Dmitriy Shumekov" userId="ffbf198107bbd5ce" providerId="LiveId" clId="{4D67C7A2-FE00-4525-AF5E-9335BFF471AC}" dt="2025-01-14T07:25:18.697" v="3135"/>
          <ac:graphicFrameMkLst>
            <pc:docMk/>
            <pc:sldMk cId="3067339582" sldId="330"/>
            <ac:graphicFrameMk id="34" creationId="{B703C365-1E8A-3411-9E6B-326743C94A8E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1847377045" sldId="331"/>
        </pc:sldMkLst>
        <pc:spChg chg="mod">
          <ac:chgData name="Dmitriy Shumekov" userId="ffbf198107bbd5ce" providerId="LiveId" clId="{4D67C7A2-FE00-4525-AF5E-9335BFF471AC}" dt="2025-01-27T12:35:34.240" v="6144"/>
          <ac:spMkLst>
            <pc:docMk/>
            <pc:sldMk cId="1847377045" sldId="331"/>
            <ac:spMk id="2" creationId="{F8F6A0BA-4C71-557E-3857-CE5680F16C95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847377045" sldId="331"/>
            <ac:spMk id="3" creationId="{7A5DA300-8CBE-9BBC-A970-6592FF97D27A}"/>
          </ac:spMkLst>
        </pc:spChg>
        <pc:graphicFrameChg chg="mod modGraphic">
          <ac:chgData name="Dmitriy Shumekov" userId="ffbf198107bbd5ce" providerId="LiveId" clId="{4D67C7A2-FE00-4525-AF5E-9335BFF471AC}" dt="2025-01-14T07:31:21.735" v="3211"/>
          <ac:graphicFrameMkLst>
            <pc:docMk/>
            <pc:sldMk cId="1847377045" sldId="331"/>
            <ac:graphicFrameMk id="34" creationId="{DE8D2A9F-A267-8B65-0225-A4E2984AA8A9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668728220" sldId="332"/>
        </pc:sldMkLst>
        <pc:spChg chg="mod">
          <ac:chgData name="Dmitriy Shumekov" userId="ffbf198107bbd5ce" providerId="LiveId" clId="{4D67C7A2-FE00-4525-AF5E-9335BFF471AC}" dt="2025-01-27T12:35:36.106" v="6145"/>
          <ac:spMkLst>
            <pc:docMk/>
            <pc:sldMk cId="3668728220" sldId="332"/>
            <ac:spMk id="2" creationId="{81AB8E1A-C421-E437-C4C7-BEB5DB06B46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68728220" sldId="332"/>
            <ac:spMk id="3" creationId="{E31895EA-3F24-5947-A333-8A95FC1191EC}"/>
          </ac:spMkLst>
        </pc:spChg>
        <pc:graphicFrameChg chg="mod modGraphic">
          <ac:chgData name="Dmitriy Shumekov" userId="ffbf198107bbd5ce" providerId="LiveId" clId="{4D67C7A2-FE00-4525-AF5E-9335BFF471AC}" dt="2025-01-14T10:23:02.585" v="3254" actId="21"/>
          <ac:graphicFrameMkLst>
            <pc:docMk/>
            <pc:sldMk cId="3668728220" sldId="332"/>
            <ac:graphicFrameMk id="34" creationId="{30E584B9-D349-D0E2-E475-BC20FEE34902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149698602" sldId="333"/>
        </pc:sldMkLst>
        <pc:spChg chg="mod">
          <ac:chgData name="Dmitriy Shumekov" userId="ffbf198107bbd5ce" providerId="LiveId" clId="{4D67C7A2-FE00-4525-AF5E-9335BFF471AC}" dt="2025-01-27T12:35:37.865" v="6146"/>
          <ac:spMkLst>
            <pc:docMk/>
            <pc:sldMk cId="149698602" sldId="333"/>
            <ac:spMk id="2" creationId="{A1B15DEE-EC01-963A-4737-3C094FF990D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49698602" sldId="333"/>
            <ac:spMk id="3" creationId="{92BAABD7-7E60-D1E5-F371-BC6AA515A85F}"/>
          </ac:spMkLst>
        </pc:spChg>
        <pc:graphicFrameChg chg="mod modGraphic">
          <ac:chgData name="Dmitriy Shumekov" userId="ffbf198107bbd5ce" providerId="LiveId" clId="{4D67C7A2-FE00-4525-AF5E-9335BFF471AC}" dt="2025-01-14T10:28:18.227" v="3356" actId="21"/>
          <ac:graphicFrameMkLst>
            <pc:docMk/>
            <pc:sldMk cId="149698602" sldId="333"/>
            <ac:graphicFrameMk id="34" creationId="{DD31BF97-68DA-216F-97E6-3B196861F901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113930948" sldId="334"/>
        </pc:sldMkLst>
        <pc:spChg chg="mod">
          <ac:chgData name="Dmitriy Shumekov" userId="ffbf198107bbd5ce" providerId="LiveId" clId="{4D67C7A2-FE00-4525-AF5E-9335BFF471AC}" dt="2025-01-27T12:35:39.728" v="6147"/>
          <ac:spMkLst>
            <pc:docMk/>
            <pc:sldMk cId="113930948" sldId="334"/>
            <ac:spMk id="2" creationId="{B734AFEE-8DA6-E3AD-6E98-752262EC4444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3930948" sldId="334"/>
            <ac:spMk id="3" creationId="{1FECB233-93D9-0949-0F75-F918E192AA96}"/>
          </ac:spMkLst>
        </pc:spChg>
        <pc:graphicFrameChg chg="mod">
          <ac:chgData name="Dmitriy Shumekov" userId="ffbf198107bbd5ce" providerId="LiveId" clId="{4D67C7A2-FE00-4525-AF5E-9335BFF471AC}" dt="2025-01-14T11:13:48.324" v="3377"/>
          <ac:graphicFrameMkLst>
            <pc:docMk/>
            <pc:sldMk cId="113930948" sldId="334"/>
            <ac:graphicFrameMk id="17" creationId="{22F75AD4-9F3C-B50D-FE65-555CB2AB6323}"/>
          </ac:graphicFrameMkLst>
        </pc:graphicFrameChg>
        <pc:graphicFrameChg chg="mod">
          <ac:chgData name="Dmitriy Shumekov" userId="ffbf198107bbd5ce" providerId="LiveId" clId="{4D67C7A2-FE00-4525-AF5E-9335BFF471AC}" dt="2025-01-14T11:14:22.452" v="3393" actId="14100"/>
          <ac:graphicFrameMkLst>
            <pc:docMk/>
            <pc:sldMk cId="113930948" sldId="334"/>
            <ac:graphicFrameMk id="30" creationId="{7C558EDC-F47B-C67E-811C-D3E00FB02F1B}"/>
          </ac:graphicFrameMkLst>
        </pc:graphicFrameChg>
        <pc:graphicFrameChg chg="mod modGraphic">
          <ac:chgData name="Dmitriy Shumekov" userId="ffbf198107bbd5ce" providerId="LiveId" clId="{4D67C7A2-FE00-4525-AF5E-9335BFF471AC}" dt="2025-01-14T11:16:06.519" v="3426" actId="21"/>
          <ac:graphicFrameMkLst>
            <pc:docMk/>
            <pc:sldMk cId="113930948" sldId="334"/>
            <ac:graphicFrameMk id="34" creationId="{1211FE1A-CD43-1BF1-79AE-FC537E075F9C}"/>
          </ac:graphicFrameMkLst>
        </pc:graphicFrameChg>
      </pc:sldChg>
      <pc:sldChg chg="modSp add del mod ord">
        <pc:chgData name="Dmitriy Shumekov" userId="ffbf198107bbd5ce" providerId="LiveId" clId="{4D67C7A2-FE00-4525-AF5E-9335BFF471AC}" dt="2025-02-06T06:31:44.024" v="8774"/>
        <pc:sldMkLst>
          <pc:docMk/>
          <pc:sldMk cId="4045327155" sldId="335"/>
        </pc:sldMkLst>
        <pc:spChg chg="mod">
          <ac:chgData name="Dmitriy Shumekov" userId="ffbf198107bbd5ce" providerId="LiveId" clId="{4D67C7A2-FE00-4525-AF5E-9335BFF471AC}" dt="2025-01-27T12:35:41.631" v="6148"/>
          <ac:spMkLst>
            <pc:docMk/>
            <pc:sldMk cId="4045327155" sldId="335"/>
            <ac:spMk id="2" creationId="{CD8E7883-F4C4-65D0-6794-EAECBB7D0793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045327155" sldId="335"/>
            <ac:spMk id="3" creationId="{0305CF98-1A4F-BBF0-E0AD-CD6941EB05CD}"/>
          </ac:spMkLst>
        </pc:spChg>
        <pc:graphicFrameChg chg="mod">
          <ac:chgData name="Dmitriy Shumekov" userId="ffbf198107bbd5ce" providerId="LiveId" clId="{4D67C7A2-FE00-4525-AF5E-9335BFF471AC}" dt="2025-01-14T11:17:20.126" v="3444" actId="14100"/>
          <ac:graphicFrameMkLst>
            <pc:docMk/>
            <pc:sldMk cId="4045327155" sldId="335"/>
            <ac:graphicFrameMk id="14" creationId="{28D1F524-C158-159A-F27C-1B2B3E02888E}"/>
          </ac:graphicFrameMkLst>
        </pc:graphicFrameChg>
        <pc:graphicFrameChg chg="mod modGraphic">
          <ac:chgData name="Dmitriy Shumekov" userId="ffbf198107bbd5ce" providerId="LiveId" clId="{4D67C7A2-FE00-4525-AF5E-9335BFF471AC}" dt="2025-01-14T11:20:18.026" v="3477" actId="21"/>
          <ac:graphicFrameMkLst>
            <pc:docMk/>
            <pc:sldMk cId="4045327155" sldId="335"/>
            <ac:graphicFrameMk id="34" creationId="{9286A68F-2481-8C12-BEA3-E30FA9779230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955169375" sldId="336"/>
        </pc:sldMkLst>
        <pc:spChg chg="mod">
          <ac:chgData name="Dmitriy Shumekov" userId="ffbf198107bbd5ce" providerId="LiveId" clId="{4D67C7A2-FE00-4525-AF5E-9335BFF471AC}" dt="2025-01-27T12:35:47.445" v="6151"/>
          <ac:spMkLst>
            <pc:docMk/>
            <pc:sldMk cId="955169375" sldId="336"/>
            <ac:spMk id="2" creationId="{4A05125A-4A6F-22D5-C5CF-FAE6C38CF931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955169375" sldId="336"/>
            <ac:spMk id="3" creationId="{3FD25596-FC17-8C3B-5C76-595B89E887CE}"/>
          </ac:spMkLst>
        </pc:spChg>
        <pc:graphicFrameChg chg="mod">
          <ac:chgData name="Dmitriy Shumekov" userId="ffbf198107bbd5ce" providerId="LiveId" clId="{4D67C7A2-FE00-4525-AF5E-9335BFF471AC}" dt="2025-01-14T11:21:24.380" v="3499"/>
          <ac:graphicFrameMkLst>
            <pc:docMk/>
            <pc:sldMk cId="955169375" sldId="336"/>
            <ac:graphicFrameMk id="17" creationId="{550885BC-1B75-C232-A72F-BD4792909304}"/>
          </ac:graphicFrameMkLst>
        </pc:graphicFrameChg>
        <pc:graphicFrameChg chg="mod modGraphic">
          <ac:chgData name="Dmitriy Shumekov" userId="ffbf198107bbd5ce" providerId="LiveId" clId="{4D67C7A2-FE00-4525-AF5E-9335BFF471AC}" dt="2025-01-14T11:23:01.597" v="3534" actId="21"/>
          <ac:graphicFrameMkLst>
            <pc:docMk/>
            <pc:sldMk cId="955169375" sldId="336"/>
            <ac:graphicFrameMk id="34" creationId="{A2CD7FE6-7804-1C0A-C7B1-82A50B199561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1339222446" sldId="337"/>
        </pc:sldMkLst>
        <pc:spChg chg="mod">
          <ac:chgData name="Dmitriy Shumekov" userId="ffbf198107bbd5ce" providerId="LiveId" clId="{4D67C7A2-FE00-4525-AF5E-9335BFF471AC}" dt="2025-01-27T12:35:50.569" v="6152"/>
          <ac:spMkLst>
            <pc:docMk/>
            <pc:sldMk cId="1339222446" sldId="337"/>
            <ac:spMk id="2" creationId="{CD8E7883-F4C4-65D0-6794-EAECBB7D0793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339222446" sldId="337"/>
            <ac:spMk id="3" creationId="{0305CF98-1A4F-BBF0-E0AD-CD6941EB05CD}"/>
          </ac:spMkLst>
        </pc:spChg>
        <pc:graphicFrameChg chg="mod">
          <ac:chgData name="Dmitriy Shumekov" userId="ffbf198107bbd5ce" providerId="LiveId" clId="{4D67C7A2-FE00-4525-AF5E-9335BFF471AC}" dt="2025-01-14T11:44:49.315" v="3547"/>
          <ac:graphicFrameMkLst>
            <pc:docMk/>
            <pc:sldMk cId="1339222446" sldId="337"/>
            <ac:graphicFrameMk id="17" creationId="{552FF1C1-211B-1F72-427B-425C0ADB2483}"/>
          </ac:graphicFrameMkLst>
        </pc:graphicFrameChg>
        <pc:graphicFrameChg chg="mod modGraphic">
          <ac:chgData name="Dmitriy Shumekov" userId="ffbf198107bbd5ce" providerId="LiveId" clId="{4D67C7A2-FE00-4525-AF5E-9335BFF471AC}" dt="2025-01-14T11:46:07.365" v="3575" actId="21"/>
          <ac:graphicFrameMkLst>
            <pc:docMk/>
            <pc:sldMk cId="1339222446" sldId="337"/>
            <ac:graphicFrameMk id="34" creationId="{9286A68F-2481-8C12-BEA3-E30FA9779230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3245466387" sldId="338"/>
        </pc:sldMkLst>
        <pc:spChg chg="mod">
          <ac:chgData name="Dmitriy Shumekov" userId="ffbf198107bbd5ce" providerId="LiveId" clId="{4D67C7A2-FE00-4525-AF5E-9335BFF471AC}" dt="2025-01-27T12:35:52.269" v="6153"/>
          <ac:spMkLst>
            <pc:docMk/>
            <pc:sldMk cId="3245466387" sldId="338"/>
            <ac:spMk id="2" creationId="{E429E9E4-AF8B-3907-77BE-43603E486EFC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45466387" sldId="338"/>
            <ac:spMk id="3" creationId="{0A548E8F-2CC5-8A5C-FB3F-2576F69522E7}"/>
          </ac:spMkLst>
        </pc:spChg>
        <pc:graphicFrameChg chg="mod modGraphic">
          <ac:chgData name="Dmitriy Shumekov" userId="ffbf198107bbd5ce" providerId="LiveId" clId="{4D67C7A2-FE00-4525-AF5E-9335BFF471AC}" dt="2025-01-14T11:48:49.788" v="3613" actId="21"/>
          <ac:graphicFrameMkLst>
            <pc:docMk/>
            <pc:sldMk cId="3245466387" sldId="338"/>
            <ac:graphicFrameMk id="34" creationId="{3FE24499-91AA-7722-3AC9-35620DED3EC1}"/>
          </ac:graphicFrameMkLst>
        </pc:graphicFrameChg>
      </pc:sldChg>
      <pc:sldChg chg="add del">
        <pc:chgData name="Dmitriy Shumekov" userId="ffbf198107bbd5ce" providerId="LiveId" clId="{4D67C7A2-FE00-4525-AF5E-9335BFF471AC}" dt="2025-01-14T11:49:16.401" v="3615" actId="47"/>
        <pc:sldMkLst>
          <pc:docMk/>
          <pc:sldMk cId="836430734" sldId="339"/>
        </pc:sldMkLst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3657533171" sldId="339"/>
        </pc:sldMkLst>
        <pc:spChg chg="mod">
          <ac:chgData name="Dmitriy Shumekov" userId="ffbf198107bbd5ce" providerId="LiveId" clId="{4D67C7A2-FE00-4525-AF5E-9335BFF471AC}" dt="2025-01-27T12:35:54.042" v="6154"/>
          <ac:spMkLst>
            <pc:docMk/>
            <pc:sldMk cId="3657533171" sldId="339"/>
            <ac:spMk id="2" creationId="{6B2E28FB-DEF8-01FA-1590-E335C524B47B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57533171" sldId="339"/>
            <ac:spMk id="3" creationId="{85F5424F-1225-057B-9AF7-4BEF1E6AE6EB}"/>
          </ac:spMkLst>
        </pc:spChg>
        <pc:graphicFrameChg chg="mod modGraphic">
          <ac:chgData name="Dmitriy Shumekov" userId="ffbf198107bbd5ce" providerId="LiveId" clId="{4D67C7A2-FE00-4525-AF5E-9335BFF471AC}" dt="2025-01-14T11:51:41.763" v="3660" actId="21"/>
          <ac:graphicFrameMkLst>
            <pc:docMk/>
            <pc:sldMk cId="3657533171" sldId="339"/>
            <ac:graphicFrameMk id="34" creationId="{B9BD6F10-35AF-F871-2DD2-138FAA303ED0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730435707" sldId="340"/>
        </pc:sldMkLst>
        <pc:spChg chg="mod">
          <ac:chgData name="Dmitriy Shumekov" userId="ffbf198107bbd5ce" providerId="LiveId" clId="{4D67C7A2-FE00-4525-AF5E-9335BFF471AC}" dt="2025-01-27T12:35:56.034" v="6155"/>
          <ac:spMkLst>
            <pc:docMk/>
            <pc:sldMk cId="730435707" sldId="340"/>
            <ac:spMk id="2" creationId="{16B9AE73-DCA6-00D5-7C07-D43923DBAD68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730435707" sldId="340"/>
            <ac:spMk id="3" creationId="{5CA49C50-790E-BEDB-034E-93E81140132F}"/>
          </ac:spMkLst>
        </pc:spChg>
        <pc:graphicFrameChg chg="mod modGraphic">
          <ac:chgData name="Dmitriy Shumekov" userId="ffbf198107bbd5ce" providerId="LiveId" clId="{4D67C7A2-FE00-4525-AF5E-9335BFF471AC}" dt="2025-01-14T11:54:09.909" v="3701" actId="21"/>
          <ac:graphicFrameMkLst>
            <pc:docMk/>
            <pc:sldMk cId="730435707" sldId="340"/>
            <ac:graphicFrameMk id="34" creationId="{91A08E46-2E0D-ED46-3CB6-BB8CAD589804}"/>
          </ac:graphicFrameMkLst>
        </pc:graphicFrameChg>
      </pc:sldChg>
      <pc:sldChg chg="addSp modSp add del mod">
        <pc:chgData name="Dmitriy Shumekov" userId="ffbf198107bbd5ce" providerId="LiveId" clId="{4D67C7A2-FE00-4525-AF5E-9335BFF471AC}" dt="2025-02-06T06:31:44.024" v="8774"/>
        <pc:sldMkLst>
          <pc:docMk/>
          <pc:sldMk cId="2287219382" sldId="341"/>
        </pc:sldMkLst>
        <pc:spChg chg="mod">
          <ac:chgData name="Dmitriy Shumekov" userId="ffbf198107bbd5ce" providerId="LiveId" clId="{4D67C7A2-FE00-4525-AF5E-9335BFF471AC}" dt="2025-01-27T12:35:57.794" v="6156"/>
          <ac:spMkLst>
            <pc:docMk/>
            <pc:sldMk cId="2287219382" sldId="341"/>
            <ac:spMk id="2" creationId="{308B59D0-3988-CC36-CF2F-FECB9EE84BEE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287219382" sldId="341"/>
            <ac:spMk id="3" creationId="{BA1B2891-F788-E639-85DB-ADC4F4FCEBBF}"/>
          </ac:spMkLst>
        </pc:spChg>
        <pc:graphicFrameChg chg="mod modGraphic">
          <ac:chgData name="Dmitriy Shumekov" userId="ffbf198107bbd5ce" providerId="LiveId" clId="{4D67C7A2-FE00-4525-AF5E-9335BFF471AC}" dt="2025-01-14T11:56:32.255" v="3743" actId="21"/>
          <ac:graphicFrameMkLst>
            <pc:docMk/>
            <pc:sldMk cId="2287219382" sldId="341"/>
            <ac:graphicFrameMk id="34" creationId="{08350B86-5F5A-4A7C-1A5C-63D92DF1EBCF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2915244773" sldId="342"/>
        </pc:sldMkLst>
        <pc:spChg chg="mod">
          <ac:chgData name="Dmitriy Shumekov" userId="ffbf198107bbd5ce" providerId="LiveId" clId="{4D67C7A2-FE00-4525-AF5E-9335BFF471AC}" dt="2025-01-27T12:35:59.589" v="6157"/>
          <ac:spMkLst>
            <pc:docMk/>
            <pc:sldMk cId="2915244773" sldId="342"/>
            <ac:spMk id="2" creationId="{3DACA681-4F9A-F441-DAB1-8B61E40EAEAA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915244773" sldId="342"/>
            <ac:spMk id="3" creationId="{D8F26FF7-7BEC-4B49-2B13-D4BB1CF97449}"/>
          </ac:spMkLst>
        </pc:spChg>
        <pc:graphicFrameChg chg="mod">
          <ac:chgData name="Dmitriy Shumekov" userId="ffbf198107bbd5ce" providerId="LiveId" clId="{4D67C7A2-FE00-4525-AF5E-9335BFF471AC}" dt="2025-01-14T11:57:43.267" v="3755"/>
          <ac:graphicFrameMkLst>
            <pc:docMk/>
            <pc:sldMk cId="2915244773" sldId="342"/>
            <ac:graphicFrameMk id="17" creationId="{170063E6-FE16-3EA1-179E-F1ACB5F47885}"/>
          </ac:graphicFrameMkLst>
        </pc:graphicFrameChg>
        <pc:graphicFrameChg chg="mod modGraphic">
          <ac:chgData name="Dmitriy Shumekov" userId="ffbf198107bbd5ce" providerId="LiveId" clId="{4D67C7A2-FE00-4525-AF5E-9335BFF471AC}" dt="2025-01-14T11:59:00.079" v="3787" actId="21"/>
          <ac:graphicFrameMkLst>
            <pc:docMk/>
            <pc:sldMk cId="2915244773" sldId="342"/>
            <ac:graphicFrameMk id="34" creationId="{2CCE737B-9FEF-1164-1E9A-ED26CE803CA5}"/>
          </ac:graphicFrameMkLst>
        </pc:graphicFrameChg>
      </pc:sldChg>
      <pc:sldChg chg="addSp modSp add del mod">
        <pc:chgData name="Dmitriy Shumekov" userId="ffbf198107bbd5ce" providerId="LiveId" clId="{4D67C7A2-FE00-4525-AF5E-9335BFF471AC}" dt="2025-02-06T06:31:44.024" v="8774"/>
        <pc:sldMkLst>
          <pc:docMk/>
          <pc:sldMk cId="1255612874" sldId="343"/>
        </pc:sldMkLst>
        <pc:spChg chg="mod">
          <ac:chgData name="Dmitriy Shumekov" userId="ffbf198107bbd5ce" providerId="LiveId" clId="{4D67C7A2-FE00-4525-AF5E-9335BFF471AC}" dt="2025-01-27T12:36:01.375" v="6158"/>
          <ac:spMkLst>
            <pc:docMk/>
            <pc:sldMk cId="1255612874" sldId="343"/>
            <ac:spMk id="2" creationId="{2E63674F-7394-2C79-FABC-F9300BFDC127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55612874" sldId="343"/>
            <ac:spMk id="3" creationId="{EB37E711-7949-3F16-373E-D904B3B7C785}"/>
          </ac:spMkLst>
        </pc:spChg>
        <pc:graphicFrameChg chg="mod">
          <ac:chgData name="Dmitriy Shumekov" userId="ffbf198107bbd5ce" providerId="LiveId" clId="{4D67C7A2-FE00-4525-AF5E-9335BFF471AC}" dt="2025-01-14T12:00:07.430" v="3800"/>
          <ac:graphicFrameMkLst>
            <pc:docMk/>
            <pc:sldMk cId="1255612874" sldId="343"/>
            <ac:graphicFrameMk id="17" creationId="{370CDE32-0BE2-635D-F157-BD4A82BD5387}"/>
          </ac:graphicFrameMkLst>
        </pc:graphicFrameChg>
        <pc:graphicFrameChg chg="mod modGraphic">
          <ac:chgData name="Dmitriy Shumekov" userId="ffbf198107bbd5ce" providerId="LiveId" clId="{4D67C7A2-FE00-4525-AF5E-9335BFF471AC}" dt="2025-01-14T12:01:25.509" v="3832" actId="21"/>
          <ac:graphicFrameMkLst>
            <pc:docMk/>
            <pc:sldMk cId="1255612874" sldId="343"/>
            <ac:graphicFrameMk id="34" creationId="{F3E2A49F-DA5E-C710-4003-109493A19224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419054163" sldId="344"/>
        </pc:sldMkLst>
        <pc:spChg chg="mod">
          <ac:chgData name="Dmitriy Shumekov" userId="ffbf198107bbd5ce" providerId="LiveId" clId="{4D67C7A2-FE00-4525-AF5E-9335BFF471AC}" dt="2025-01-27T12:36:03.069" v="6159"/>
          <ac:spMkLst>
            <pc:docMk/>
            <pc:sldMk cId="419054163" sldId="344"/>
            <ac:spMk id="2" creationId="{82B83CA5-FF27-E8E9-A5C8-0F773D3619D1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19054163" sldId="344"/>
            <ac:spMk id="3" creationId="{01CEB0AF-DDF8-2BC1-8194-AB5BE755744E}"/>
          </ac:spMkLst>
        </pc:spChg>
        <pc:graphicFrameChg chg="mod modGraphic">
          <ac:chgData name="Dmitriy Shumekov" userId="ffbf198107bbd5ce" providerId="LiveId" clId="{4D67C7A2-FE00-4525-AF5E-9335BFF471AC}" dt="2025-01-14T12:03:25.393" v="3874" actId="21"/>
          <ac:graphicFrameMkLst>
            <pc:docMk/>
            <pc:sldMk cId="419054163" sldId="344"/>
            <ac:graphicFrameMk id="34" creationId="{5EFB84E5-3FC2-E30B-9B6B-7E6D2102C852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241338842" sldId="345"/>
        </pc:sldMkLst>
        <pc:spChg chg="mod">
          <ac:chgData name="Dmitriy Shumekov" userId="ffbf198107bbd5ce" providerId="LiveId" clId="{4D67C7A2-FE00-4525-AF5E-9335BFF471AC}" dt="2025-01-27T12:36:04.903" v="6160"/>
          <ac:spMkLst>
            <pc:docMk/>
            <pc:sldMk cId="241338842" sldId="345"/>
            <ac:spMk id="2" creationId="{1F7AF03E-5734-D392-7EA8-ABAE07490AC8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1338842" sldId="345"/>
            <ac:spMk id="3" creationId="{81714956-6782-AD79-3989-ED374697693F}"/>
          </ac:spMkLst>
        </pc:spChg>
        <pc:graphicFrameChg chg="mod">
          <ac:chgData name="Dmitriy Shumekov" userId="ffbf198107bbd5ce" providerId="LiveId" clId="{4D67C7A2-FE00-4525-AF5E-9335BFF471AC}" dt="2025-01-14T12:04:13.427" v="3886"/>
          <ac:graphicFrameMkLst>
            <pc:docMk/>
            <pc:sldMk cId="241338842" sldId="345"/>
            <ac:graphicFrameMk id="17" creationId="{179AB337-EA2A-E3AE-21BF-C565F1E8340E}"/>
          </ac:graphicFrameMkLst>
        </pc:graphicFrameChg>
        <pc:graphicFrameChg chg="mod modGraphic">
          <ac:chgData name="Dmitriy Shumekov" userId="ffbf198107bbd5ce" providerId="LiveId" clId="{4D67C7A2-FE00-4525-AF5E-9335BFF471AC}" dt="2025-01-14T12:05:21.107" v="3914" actId="21"/>
          <ac:graphicFrameMkLst>
            <pc:docMk/>
            <pc:sldMk cId="241338842" sldId="345"/>
            <ac:graphicFrameMk id="34" creationId="{7E946146-75DA-CE5F-12D8-114221C961C6}"/>
          </ac:graphicFrameMkLst>
        </pc:graphicFrameChg>
      </pc:sldChg>
      <pc:sldChg chg="modSp add del mod">
        <pc:chgData name="Dmitriy Shumekov" userId="ffbf198107bbd5ce" providerId="LiveId" clId="{4D67C7A2-FE00-4525-AF5E-9335BFF471AC}" dt="2025-02-06T06:31:44.024" v="8774"/>
        <pc:sldMkLst>
          <pc:docMk/>
          <pc:sldMk cId="286230203" sldId="346"/>
        </pc:sldMkLst>
        <pc:spChg chg="mod">
          <ac:chgData name="Dmitriy Shumekov" userId="ffbf198107bbd5ce" providerId="LiveId" clId="{4D67C7A2-FE00-4525-AF5E-9335BFF471AC}" dt="2025-01-27T12:36:06.781" v="6161"/>
          <ac:spMkLst>
            <pc:docMk/>
            <pc:sldMk cId="286230203" sldId="346"/>
            <ac:spMk id="2" creationId="{FAC865D9-BEBD-C65D-5B75-875508A7C6BD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86230203" sldId="346"/>
            <ac:spMk id="3" creationId="{C73D247A-4C2B-0C1E-3231-21D2D99609A5}"/>
          </ac:spMkLst>
        </pc:spChg>
        <pc:graphicFrameChg chg="mod">
          <ac:chgData name="Dmitriy Shumekov" userId="ffbf198107bbd5ce" providerId="LiveId" clId="{4D67C7A2-FE00-4525-AF5E-9335BFF471AC}" dt="2025-01-14T12:06:09.282" v="3927"/>
          <ac:graphicFrameMkLst>
            <pc:docMk/>
            <pc:sldMk cId="286230203" sldId="346"/>
            <ac:graphicFrameMk id="17" creationId="{0356BF93-E514-4B13-845D-BEE5A38CCE8B}"/>
          </ac:graphicFrameMkLst>
        </pc:graphicFrameChg>
        <pc:graphicFrameChg chg="mod modGraphic">
          <ac:chgData name="Dmitriy Shumekov" userId="ffbf198107bbd5ce" providerId="LiveId" clId="{4D67C7A2-FE00-4525-AF5E-9335BFF471AC}" dt="2025-01-14T12:08:12.512" v="3960" actId="21"/>
          <ac:graphicFrameMkLst>
            <pc:docMk/>
            <pc:sldMk cId="286230203" sldId="346"/>
            <ac:graphicFrameMk id="34" creationId="{E7F919B9-A862-23CA-50CE-39979E7C632D}"/>
          </ac:graphicFrameMkLst>
        </pc:graphicFrameChg>
      </pc:sldChg>
      <pc:sldChg chg="addSp delSp modSp new del mod">
        <pc:chgData name="Dmitriy Shumekov" userId="ffbf198107bbd5ce" providerId="LiveId" clId="{4D67C7A2-FE00-4525-AF5E-9335BFF471AC}" dt="2025-01-30T11:41:33.085" v="7655" actId="47"/>
        <pc:sldMkLst>
          <pc:docMk/>
          <pc:sldMk cId="3188167644" sldId="347"/>
        </pc:sldMkLst>
      </pc:sldChg>
      <pc:sldChg chg="addSp delSp modSp add del mod">
        <pc:chgData name="Dmitriy Shumekov" userId="ffbf198107bbd5ce" providerId="LiveId" clId="{4D67C7A2-FE00-4525-AF5E-9335BFF471AC}" dt="2025-02-06T06:03:56.390" v="8764" actId="47"/>
        <pc:sldMkLst>
          <pc:docMk/>
          <pc:sldMk cId="2156334559" sldId="348"/>
        </pc:sldMkLst>
      </pc:sldChg>
      <pc:sldChg chg="addSp delSp modSp add del mod">
        <pc:chgData name="Dmitriy Shumekov" userId="ffbf198107bbd5ce" providerId="LiveId" clId="{4D67C7A2-FE00-4525-AF5E-9335BFF471AC}" dt="2025-02-06T06:03:58.197" v="8766" actId="47"/>
        <pc:sldMkLst>
          <pc:docMk/>
          <pc:sldMk cId="3105283750" sldId="349"/>
        </pc:sldMkLst>
      </pc:sldChg>
      <pc:sldChg chg="addSp modSp add del mod ord">
        <pc:chgData name="Dmitriy Shumekov" userId="ffbf198107bbd5ce" providerId="LiveId" clId="{4D67C7A2-FE00-4525-AF5E-9335BFF471AC}" dt="2025-02-06T06:03:56.806" v="8765" actId="47"/>
        <pc:sldMkLst>
          <pc:docMk/>
          <pc:sldMk cId="1949984723" sldId="350"/>
        </pc:sldMkLst>
      </pc:sldChg>
      <pc:sldChg chg="addSp modSp new del mod">
        <pc:chgData name="Dmitriy Shumekov" userId="ffbf198107bbd5ce" providerId="LiveId" clId="{4D67C7A2-FE00-4525-AF5E-9335BFF471AC}" dt="2025-02-03T12:46:54.397" v="8205" actId="47"/>
        <pc:sldMkLst>
          <pc:docMk/>
          <pc:sldMk cId="3657942812" sldId="351"/>
        </pc:sldMkLst>
      </pc:sldChg>
      <pc:sldChg chg="addSp delSp modSp add mod">
        <pc:chgData name="Dmitriy Shumekov" userId="ffbf198107bbd5ce" providerId="LiveId" clId="{4D67C7A2-FE00-4525-AF5E-9335BFF471AC}" dt="2025-02-06T06:31:44.024" v="8774"/>
        <pc:sldMkLst>
          <pc:docMk/>
          <pc:sldMk cId="1969415326" sldId="352"/>
        </pc:sldMkLst>
        <pc:spChg chg="mod">
          <ac:chgData name="Dmitriy Shumekov" userId="ffbf198107bbd5ce" providerId="LiveId" clId="{4D67C7A2-FE00-4525-AF5E-9335BFF471AC}" dt="2025-01-16T10:59:37.852" v="5895" actId="1076"/>
          <ac:spMkLst>
            <pc:docMk/>
            <pc:sldMk cId="1969415326" sldId="352"/>
            <ac:spMk id="2" creationId="{AF50C979-33F3-01C4-0768-AA6BA09F0975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969415326" sldId="352"/>
            <ac:spMk id="3" creationId="{B50C6DA3-EE94-9024-A5AC-601CC2C1CCDF}"/>
          </ac:spMkLst>
        </pc:spChg>
        <pc:spChg chg="add mod">
          <ac:chgData name="Dmitriy Shumekov" userId="ffbf198107bbd5ce" providerId="LiveId" clId="{4D67C7A2-FE00-4525-AF5E-9335BFF471AC}" dt="2025-01-27T10:24:12.764" v="5994" actId="208"/>
          <ac:spMkLst>
            <pc:docMk/>
            <pc:sldMk cId="1969415326" sldId="352"/>
            <ac:spMk id="4" creationId="{3FE23729-C874-CA81-F6A0-C89DD2CBE9A1}"/>
          </ac:spMkLst>
        </pc:spChg>
        <pc:spChg chg="mod">
          <ac:chgData name="Dmitriy Shumekov" userId="ffbf198107bbd5ce" providerId="LiveId" clId="{4D67C7A2-FE00-4525-AF5E-9335BFF471AC}" dt="2025-01-30T11:49:29.371" v="7749" actId="1038"/>
          <ac:spMkLst>
            <pc:docMk/>
            <pc:sldMk cId="1969415326" sldId="352"/>
            <ac:spMk id="5" creationId="{7DAC9972-E264-2625-0A63-B729B1C0E2E6}"/>
          </ac:spMkLst>
        </pc:spChg>
        <pc:spChg chg="add mod">
          <ac:chgData name="Dmitriy Shumekov" userId="ffbf198107bbd5ce" providerId="LiveId" clId="{4D67C7A2-FE00-4525-AF5E-9335BFF471AC}" dt="2025-01-27T10:37:25.388" v="6004" actId="20577"/>
          <ac:spMkLst>
            <pc:docMk/>
            <pc:sldMk cId="1969415326" sldId="352"/>
            <ac:spMk id="6" creationId="{EBE1FA9B-6F57-FDFE-6FEE-9EE7F48FA8C4}"/>
          </ac:spMkLst>
        </pc:spChg>
        <pc:spChg chg="mod">
          <ac:chgData name="Dmitriy Shumekov" userId="ffbf198107bbd5ce" providerId="LiveId" clId="{4D67C7A2-FE00-4525-AF5E-9335BFF471AC}" dt="2025-01-30T11:46:58.679" v="7699" actId="1076"/>
          <ac:spMkLst>
            <pc:docMk/>
            <pc:sldMk cId="1969415326" sldId="352"/>
            <ac:spMk id="7" creationId="{D1A81FAD-0709-7C5E-C02A-9DB316413B8D}"/>
          </ac:spMkLst>
        </pc:spChg>
        <pc:spChg chg="add mod">
          <ac:chgData name="Dmitriy Shumekov" userId="ffbf198107bbd5ce" providerId="LiveId" clId="{4D67C7A2-FE00-4525-AF5E-9335BFF471AC}" dt="2025-01-27T10:23:53.447" v="5991" actId="20577"/>
          <ac:spMkLst>
            <pc:docMk/>
            <pc:sldMk cId="1969415326" sldId="352"/>
            <ac:spMk id="8" creationId="{FB4BAA49-BCA2-C92F-FF2D-00A5669974B1}"/>
          </ac:spMkLst>
        </pc:spChg>
        <pc:spChg chg="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9" creationId="{695D9379-F153-0550-4C59-C12721F8E326}"/>
          </ac:spMkLst>
        </pc:spChg>
        <pc:spChg chg="add mod">
          <ac:chgData name="Dmitriy Shumekov" userId="ffbf198107bbd5ce" providerId="LiveId" clId="{4D67C7A2-FE00-4525-AF5E-9335BFF471AC}" dt="2025-01-27T10:24:14.103" v="5995" actId="208"/>
          <ac:spMkLst>
            <pc:docMk/>
            <pc:sldMk cId="1969415326" sldId="352"/>
            <ac:spMk id="10" creationId="{AEA7856A-451C-B788-ED45-9A3418792D1D}"/>
          </ac:spMkLst>
        </pc:spChg>
        <pc:spChg chg="add mod">
          <ac:chgData name="Dmitriy Shumekov" userId="ffbf198107bbd5ce" providerId="LiveId" clId="{4D67C7A2-FE00-4525-AF5E-9335BFF471AC}" dt="2025-01-27T10:37:29.414" v="6007" actId="20577"/>
          <ac:spMkLst>
            <pc:docMk/>
            <pc:sldMk cId="1969415326" sldId="352"/>
            <ac:spMk id="11" creationId="{722B497E-F81F-267A-645F-7D23001FB39B}"/>
          </ac:spMkLst>
        </pc:spChg>
        <pc:spChg chg="add mod">
          <ac:chgData name="Dmitriy Shumekov" userId="ffbf198107bbd5ce" providerId="LiveId" clId="{4D67C7A2-FE00-4525-AF5E-9335BFF471AC}" dt="2025-01-27T10:23:55.861" v="5992"/>
          <ac:spMkLst>
            <pc:docMk/>
            <pc:sldMk cId="1969415326" sldId="352"/>
            <ac:spMk id="13" creationId="{9FF3B08F-3136-279C-6D92-C3972F9F926E}"/>
          </ac:spMkLst>
        </pc:spChg>
        <pc:spChg chg="add mod">
          <ac:chgData name="Dmitriy Shumekov" userId="ffbf198107bbd5ce" providerId="LiveId" clId="{4D67C7A2-FE00-4525-AF5E-9335BFF471AC}" dt="2025-01-27T10:24:15.177" v="5996" actId="208"/>
          <ac:spMkLst>
            <pc:docMk/>
            <pc:sldMk cId="1969415326" sldId="352"/>
            <ac:spMk id="14" creationId="{E91B021D-B6E8-FB21-431B-3B8E0EC026E4}"/>
          </ac:spMkLst>
        </pc:spChg>
        <pc:spChg chg="add mod ord">
          <ac:chgData name="Dmitriy Shumekov" userId="ffbf198107bbd5ce" providerId="LiveId" clId="{4D67C7A2-FE00-4525-AF5E-9335BFF471AC}" dt="2025-01-30T11:49:29.371" v="7749" actId="1038"/>
          <ac:spMkLst>
            <pc:docMk/>
            <pc:sldMk cId="1969415326" sldId="352"/>
            <ac:spMk id="15" creationId="{62E1671E-DBE2-C679-6B26-B5C465FE0F3E}"/>
          </ac:spMkLst>
        </pc:spChg>
        <pc:spChg chg="add mod or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16" creationId="{A37C5B07-AB51-C616-D7FD-6735F5304741}"/>
          </ac:spMkLst>
        </pc:spChg>
        <pc:spChg chg="add mod">
          <ac:chgData name="Dmitriy Shumekov" userId="ffbf198107bbd5ce" providerId="LiveId" clId="{4D67C7A2-FE00-4525-AF5E-9335BFF471AC}" dt="2025-01-29T13:03:08.214" v="7563" actId="20577"/>
          <ac:spMkLst>
            <pc:docMk/>
            <pc:sldMk cId="1969415326" sldId="352"/>
            <ac:spMk id="17" creationId="{547F51EA-0763-F5E5-43F4-2FC36B6B3AC6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18" creationId="{A71BF23C-D887-0BE4-9E4A-243AA0411F99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19" creationId="{86439B5D-F478-60F6-54E6-7EF91FBFBCE3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20" creationId="{7A5E5786-CA6B-44CB-F719-42C30E1E0CF2}"/>
          </ac:spMkLst>
        </pc:spChg>
        <pc:spChg chg="add mod">
          <ac:chgData name="Dmitriy Shumekov" userId="ffbf198107bbd5ce" providerId="LiveId" clId="{4D67C7A2-FE00-4525-AF5E-9335BFF471AC}" dt="2025-01-27T10:23:57.226" v="5993"/>
          <ac:spMkLst>
            <pc:docMk/>
            <pc:sldMk cId="1969415326" sldId="352"/>
            <ac:spMk id="21" creationId="{7CB05078-9C0D-F50C-1C80-E16B11DB62EF}"/>
          </ac:spMkLst>
        </pc:spChg>
        <pc:spChg chg="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27" creationId="{9B931B4C-CB7F-2435-8D63-BFB0FFA655C5}"/>
          </ac:spMkLst>
        </pc:spChg>
        <pc:spChg chg="mod">
          <ac:chgData name="Dmitriy Shumekov" userId="ffbf198107bbd5ce" providerId="LiveId" clId="{4D67C7A2-FE00-4525-AF5E-9335BFF471AC}" dt="2025-01-30T11:49:29.371" v="7749" actId="1038"/>
          <ac:spMkLst>
            <pc:docMk/>
            <pc:sldMk cId="1969415326" sldId="352"/>
            <ac:spMk id="28" creationId="{8ACB60E5-BFD8-D9E9-573E-AA23FA077C9A}"/>
          </ac:spMkLst>
        </pc:spChg>
        <pc:spChg chg="add mod ord">
          <ac:chgData name="Dmitriy Shumekov" userId="ffbf198107bbd5ce" providerId="LiveId" clId="{4D67C7A2-FE00-4525-AF5E-9335BFF471AC}" dt="2025-01-30T11:47:57.939" v="7720" actId="14100"/>
          <ac:spMkLst>
            <pc:docMk/>
            <pc:sldMk cId="1969415326" sldId="352"/>
            <ac:spMk id="45" creationId="{31152D85-138C-4771-7E58-1A56176B225E}"/>
          </ac:spMkLst>
        </pc:spChg>
        <pc:spChg chg="add mod">
          <ac:chgData name="Dmitriy Shumekov" userId="ffbf198107bbd5ce" providerId="LiveId" clId="{4D67C7A2-FE00-4525-AF5E-9335BFF471AC}" dt="2025-01-30T11:48:31.264" v="7728" actId="14100"/>
          <ac:spMkLst>
            <pc:docMk/>
            <pc:sldMk cId="1969415326" sldId="352"/>
            <ac:spMk id="46" creationId="{FBC65B94-E8C8-E613-D817-8D638F565E0A}"/>
          </ac:spMkLst>
        </pc:spChg>
        <pc:spChg chg="add mod">
          <ac:chgData name="Dmitriy Shumekov" userId="ffbf198107bbd5ce" providerId="LiveId" clId="{4D67C7A2-FE00-4525-AF5E-9335BFF471AC}" dt="2025-01-16T11:02:30.044" v="5928" actId="1076"/>
          <ac:spMkLst>
            <pc:docMk/>
            <pc:sldMk cId="1969415326" sldId="352"/>
            <ac:spMk id="47" creationId="{8B9B5FB5-A988-68C2-AB2D-48BF87F9DA9A}"/>
          </ac:spMkLst>
        </pc:spChg>
        <pc:spChg chg="add mod">
          <ac:chgData name="Dmitriy Shumekov" userId="ffbf198107bbd5ce" providerId="LiveId" clId="{4D67C7A2-FE00-4525-AF5E-9335BFF471AC}" dt="2025-01-16T11:02:30.044" v="5928" actId="1076"/>
          <ac:spMkLst>
            <pc:docMk/>
            <pc:sldMk cId="1969415326" sldId="352"/>
            <ac:spMk id="48" creationId="{CB3D2373-EC85-3AF4-22F2-75F766A42BA3}"/>
          </ac:spMkLst>
        </pc:spChg>
        <pc:spChg chg="add mod">
          <ac:chgData name="Dmitriy Shumekov" userId="ffbf198107bbd5ce" providerId="LiveId" clId="{4D67C7A2-FE00-4525-AF5E-9335BFF471AC}" dt="2025-01-16T11:02:36.647" v="5932" actId="20577"/>
          <ac:spMkLst>
            <pc:docMk/>
            <pc:sldMk cId="1969415326" sldId="352"/>
            <ac:spMk id="49" creationId="{171DB29F-F7DB-9E0C-73C6-158BE7851E0C}"/>
          </ac:spMkLst>
        </pc:spChg>
        <pc:spChg chg="add mod">
          <ac:chgData name="Dmitriy Shumekov" userId="ffbf198107bbd5ce" providerId="LiveId" clId="{4D67C7A2-FE00-4525-AF5E-9335BFF471AC}" dt="2025-01-27T10:57:35.192" v="6115" actId="14100"/>
          <ac:spMkLst>
            <pc:docMk/>
            <pc:sldMk cId="1969415326" sldId="352"/>
            <ac:spMk id="50" creationId="{DF74F3F9-D243-A811-45E0-4D361108F401}"/>
          </ac:spMkLst>
        </pc:spChg>
        <pc:spChg chg="add 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71" creationId="{0F47526D-66B7-1FF0-A40B-B8812084D5C2}"/>
          </ac:spMkLst>
        </pc:spChg>
        <pc:spChg chg="add 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72" creationId="{7A3B35F2-8F87-5C1E-BA6D-F241CB5459F4}"/>
          </ac:spMkLst>
        </pc:spChg>
        <pc:spChg chg="add mod">
          <ac:chgData name="Dmitriy Shumekov" userId="ffbf198107bbd5ce" providerId="LiveId" clId="{4D67C7A2-FE00-4525-AF5E-9335BFF471AC}" dt="2025-01-16T11:02:30.044" v="5928" actId="1076"/>
          <ac:spMkLst>
            <pc:docMk/>
            <pc:sldMk cId="1969415326" sldId="352"/>
            <ac:spMk id="73" creationId="{B096C022-EEDD-2107-0F4A-B8C0EA1576A5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74" creationId="{27DED0D9-0A2C-F0C8-5805-2FD62FAFC9E8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75" creationId="{7BF034C7-CC05-B9C8-1C9F-51B15EDE701B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76" creationId="{4FCDE3DC-D5EF-A722-0D6E-B4D9CA5DA741}"/>
          </ac:spMkLst>
        </pc:spChg>
        <pc:spChg chg="add mod">
          <ac:chgData name="Dmitriy Shumekov" userId="ffbf198107bbd5ce" providerId="LiveId" clId="{4D67C7A2-FE00-4525-AF5E-9335BFF471AC}" dt="2025-01-30T11:48:37.914" v="7729" actId="14100"/>
          <ac:spMkLst>
            <pc:docMk/>
            <pc:sldMk cId="1969415326" sldId="352"/>
            <ac:spMk id="88" creationId="{575E4388-9AFB-F218-3B11-15269C2867A1}"/>
          </ac:spMkLst>
        </pc:spChg>
        <pc:spChg chg="add 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89" creationId="{09E267E8-5C3D-DAF3-FC7B-8A3027D16686}"/>
          </ac:spMkLst>
        </pc:spChg>
        <pc:spChg chg="add mod">
          <ac:chgData name="Dmitriy Shumekov" userId="ffbf198107bbd5ce" providerId="LiveId" clId="{4D67C7A2-FE00-4525-AF5E-9335BFF471AC}" dt="2025-01-27T10:23:21.136" v="5968" actId="1076"/>
          <ac:spMkLst>
            <pc:docMk/>
            <pc:sldMk cId="1969415326" sldId="352"/>
            <ac:spMk id="90" creationId="{29F76C55-B3A1-6EBC-3AF9-195F2CC4D6C8}"/>
          </ac:spMkLst>
        </pc:spChg>
        <pc:spChg chg="add mod">
          <ac:chgData name="Dmitriy Shumekov" userId="ffbf198107bbd5ce" providerId="LiveId" clId="{4D67C7A2-FE00-4525-AF5E-9335BFF471AC}" dt="2025-01-29T13:18:46.793" v="7619" actId="20577"/>
          <ac:spMkLst>
            <pc:docMk/>
            <pc:sldMk cId="1969415326" sldId="352"/>
            <ac:spMk id="91" creationId="{BFB1AA90-CAD5-9846-890B-EE3886E4C939}"/>
          </ac:spMkLst>
        </pc:spChg>
        <pc:spChg chg="add mod">
          <ac:chgData name="Dmitriy Shumekov" userId="ffbf198107bbd5ce" providerId="LiveId" clId="{4D67C7A2-FE00-4525-AF5E-9335BFF471AC}" dt="2025-01-27T10:57:35.192" v="6115" actId="14100"/>
          <ac:spMkLst>
            <pc:docMk/>
            <pc:sldMk cId="1969415326" sldId="352"/>
            <ac:spMk id="92" creationId="{9375B240-3C85-0E87-DB5A-16AB67A849D2}"/>
          </ac:spMkLst>
        </pc:spChg>
        <pc:spChg chg="add 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93" creationId="{0F97ADCC-5244-7B3E-FDB3-722E4C7CCCDB}"/>
          </ac:spMkLst>
        </pc:spChg>
        <pc:spChg chg="add mod">
          <ac:chgData name="Dmitriy Shumekov" userId="ffbf198107bbd5ce" providerId="LiveId" clId="{4D67C7A2-FE00-4525-AF5E-9335BFF471AC}" dt="2025-01-30T11:49:32.917" v="7754" actId="1038"/>
          <ac:spMkLst>
            <pc:docMk/>
            <pc:sldMk cId="1969415326" sldId="352"/>
            <ac:spMk id="94" creationId="{FB597F55-E791-377C-27F0-BBFCCD34891B}"/>
          </ac:spMkLst>
        </pc:spChg>
        <pc:spChg chg="add mod">
          <ac:chgData name="Dmitriy Shumekov" userId="ffbf198107bbd5ce" providerId="LiveId" clId="{4D67C7A2-FE00-4525-AF5E-9335BFF471AC}" dt="2025-01-27T10:22:54.075" v="5966" actId="1076"/>
          <ac:spMkLst>
            <pc:docMk/>
            <pc:sldMk cId="1969415326" sldId="352"/>
            <ac:spMk id="95" creationId="{C59A7818-58C3-EA48-E34C-15D46DED7688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96" creationId="{9902B5B9-29D4-1FD7-D7A6-253FE3179C59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97" creationId="{3BADF81A-0B3E-17C1-28CD-3CCD749977B2}"/>
          </ac:spMkLst>
        </pc:spChg>
        <pc:spChg chg="add mod">
          <ac:chgData name="Dmitriy Shumekov" userId="ffbf198107bbd5ce" providerId="LiveId" clId="{4D67C7A2-FE00-4525-AF5E-9335BFF471AC}" dt="2025-01-30T11:49:36.629" v="7759" actId="1038"/>
          <ac:spMkLst>
            <pc:docMk/>
            <pc:sldMk cId="1969415326" sldId="352"/>
            <ac:spMk id="98" creationId="{12D319F4-E754-33B6-F003-09438280B5BD}"/>
          </ac:spMkLst>
        </pc:spChg>
        <pc:graphicFrameChg chg="add mod modGraphic">
          <ac:chgData name="Dmitriy Shumekov" userId="ffbf198107bbd5ce" providerId="LiveId" clId="{4D67C7A2-FE00-4525-AF5E-9335BFF471AC}" dt="2025-02-03T12:34:04.403" v="8024" actId="113"/>
          <ac:graphicFrameMkLst>
            <pc:docMk/>
            <pc:sldMk cId="1969415326" sldId="352"/>
            <ac:graphicFrameMk id="12" creationId="{6BA58928-C8AF-C747-D9C9-E8E9F9F57F5A}"/>
          </ac:graphicFrameMkLst>
        </pc:graphicFrameChg>
        <pc:graphicFrameChg chg="add mod modGraphic">
          <ac:chgData name="Dmitriy Shumekov" userId="ffbf198107bbd5ce" providerId="LiveId" clId="{4D67C7A2-FE00-4525-AF5E-9335BFF471AC}" dt="2025-02-03T12:36:41.478" v="8116" actId="113"/>
          <ac:graphicFrameMkLst>
            <pc:docMk/>
            <pc:sldMk cId="1969415326" sldId="352"/>
            <ac:graphicFrameMk id="23" creationId="{B3F16EF2-C82B-C9F6-3BF1-78498BEFE287}"/>
          </ac:graphicFrameMkLst>
        </pc:graphicFrameChg>
        <pc:graphicFrameChg chg="add mod modGraphic">
          <ac:chgData name="Dmitriy Shumekov" userId="ffbf198107bbd5ce" providerId="LiveId" clId="{4D67C7A2-FE00-4525-AF5E-9335BFF471AC}" dt="2025-02-03T12:38:29.190" v="8204" actId="113"/>
          <ac:graphicFrameMkLst>
            <pc:docMk/>
            <pc:sldMk cId="1969415326" sldId="352"/>
            <ac:graphicFrameMk id="24" creationId="{8ACB25F6-5467-C043-23DA-4DFC683502D7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2762589429" sldId="353"/>
        </pc:sldMkLst>
        <pc:spChg chg="mod">
          <ac:chgData name="Dmitriy Shumekov" userId="ffbf198107bbd5ce" providerId="LiveId" clId="{4D67C7A2-FE00-4525-AF5E-9335BFF471AC}" dt="2025-01-27T12:36:32.477" v="6169" actId="20577"/>
          <ac:spMkLst>
            <pc:docMk/>
            <pc:sldMk cId="2762589429" sldId="353"/>
            <ac:spMk id="2" creationId="{6A3E78E2-00EB-349E-A471-8D34FC09B3E9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762589429" sldId="353"/>
            <ac:spMk id="3" creationId="{838438BB-8065-D72C-0830-6785BAAC0654}"/>
          </ac:spMkLst>
        </pc:spChg>
        <pc:spChg chg="mod">
          <ac:chgData name="Dmitriy Shumekov" userId="ffbf198107bbd5ce" providerId="LiveId" clId="{4D67C7A2-FE00-4525-AF5E-9335BFF471AC}" dt="2025-01-27T13:21:32.653" v="6970" actId="403"/>
          <ac:spMkLst>
            <pc:docMk/>
            <pc:sldMk cId="2762589429" sldId="353"/>
            <ac:spMk id="5" creationId="{CDA5053D-99B5-3607-5C19-4932A05D18B1}"/>
          </ac:spMkLst>
        </pc:spChg>
        <pc:spChg chg="mod">
          <ac:chgData name="Dmitriy Shumekov" userId="ffbf198107bbd5ce" providerId="LiveId" clId="{4D67C7A2-FE00-4525-AF5E-9335BFF471AC}" dt="2025-01-27T13:22:20.099" v="6980" actId="1076"/>
          <ac:spMkLst>
            <pc:docMk/>
            <pc:sldMk cId="2762589429" sldId="353"/>
            <ac:spMk id="9" creationId="{01AF5238-04C8-926D-50FD-308F79AE08CB}"/>
          </ac:spMkLst>
        </pc:spChg>
        <pc:spChg chg="mod">
          <ac:chgData name="Dmitriy Shumekov" userId="ffbf198107bbd5ce" providerId="LiveId" clId="{4D67C7A2-FE00-4525-AF5E-9335BFF471AC}" dt="2025-01-27T13:21:34.802" v="6971" actId="403"/>
          <ac:spMkLst>
            <pc:docMk/>
            <pc:sldMk cId="2762589429" sldId="353"/>
            <ac:spMk id="10" creationId="{C7B03BCE-2986-9436-DF18-0CEE7D8C4564}"/>
          </ac:spMkLst>
        </pc:spChg>
        <pc:spChg chg="mod">
          <ac:chgData name="Dmitriy Shumekov" userId="ffbf198107bbd5ce" providerId="LiveId" clId="{4D67C7A2-FE00-4525-AF5E-9335BFF471AC}" dt="2025-01-27T13:22:20.099" v="6980" actId="1076"/>
          <ac:spMkLst>
            <pc:docMk/>
            <pc:sldMk cId="2762589429" sldId="353"/>
            <ac:spMk id="11" creationId="{0A227B26-DF41-C096-93D3-4614DD08B311}"/>
          </ac:spMkLst>
        </pc:spChg>
        <pc:spChg chg="add mod">
          <ac:chgData name="Dmitriy Shumekov" userId="ffbf198107bbd5ce" providerId="LiveId" clId="{4D67C7A2-FE00-4525-AF5E-9335BFF471AC}" dt="2025-01-28T04:49:21.688" v="7114" actId="20577"/>
          <ac:spMkLst>
            <pc:docMk/>
            <pc:sldMk cId="2762589429" sldId="353"/>
            <ac:spMk id="21" creationId="{AC584BBE-A2B7-AC5C-8FF3-DC4DCDC2630D}"/>
          </ac:spMkLst>
        </pc:spChg>
        <pc:spChg chg="add del mod">
          <ac:chgData name="Dmitriy Shumekov" userId="ffbf198107bbd5ce" providerId="LiveId" clId="{4D67C7A2-FE00-4525-AF5E-9335BFF471AC}" dt="2025-01-28T04:49:16.872" v="7109" actId="20577"/>
          <ac:spMkLst>
            <pc:docMk/>
            <pc:sldMk cId="2762589429" sldId="353"/>
            <ac:spMk id="23" creationId="{7B6AE2B2-7A7F-1629-3325-E1F674C91579}"/>
          </ac:spMkLst>
        </pc:spChg>
        <pc:spChg chg="add mod">
          <ac:chgData name="Dmitriy Shumekov" userId="ffbf198107bbd5ce" providerId="LiveId" clId="{4D67C7A2-FE00-4525-AF5E-9335BFF471AC}" dt="2025-01-27T12:58:36.021" v="6734" actId="1036"/>
          <ac:spMkLst>
            <pc:docMk/>
            <pc:sldMk cId="2762589429" sldId="353"/>
            <ac:spMk id="27" creationId="{D5D9F85D-9E97-B374-8820-ED343A8BC312}"/>
          </ac:spMkLst>
        </pc:spChg>
        <pc:spChg chg="add mod">
          <ac:chgData name="Dmitriy Shumekov" userId="ffbf198107bbd5ce" providerId="LiveId" clId="{4D67C7A2-FE00-4525-AF5E-9335BFF471AC}" dt="2025-01-27T12:58:42.561" v="6748" actId="1035"/>
          <ac:spMkLst>
            <pc:docMk/>
            <pc:sldMk cId="2762589429" sldId="353"/>
            <ac:spMk id="28" creationId="{A53AA8B4-1CE8-6B3F-E1EC-F96DAACC82B9}"/>
          </ac:spMkLst>
        </pc:spChg>
        <pc:spChg chg="add del mod">
          <ac:chgData name="Dmitriy Shumekov" userId="ffbf198107bbd5ce" providerId="LiveId" clId="{4D67C7A2-FE00-4525-AF5E-9335BFF471AC}" dt="2025-01-28T04:49:25.662" v="7119" actId="20577"/>
          <ac:spMkLst>
            <pc:docMk/>
            <pc:sldMk cId="2762589429" sldId="353"/>
            <ac:spMk id="29" creationId="{5782F9F7-6BA2-6511-44EB-D05E25707FE8}"/>
          </ac:spMkLst>
        </pc:spChg>
        <pc:spChg chg="add mod">
          <ac:chgData name="Dmitriy Shumekov" userId="ffbf198107bbd5ce" providerId="LiveId" clId="{4D67C7A2-FE00-4525-AF5E-9335BFF471AC}" dt="2025-01-27T12:58:31.864" v="6721" actId="1036"/>
          <ac:spMkLst>
            <pc:docMk/>
            <pc:sldMk cId="2762589429" sldId="353"/>
            <ac:spMk id="33" creationId="{F2289872-2B63-DEF0-1E4B-85C515B4F489}"/>
          </ac:spMkLst>
        </pc:spChg>
        <pc:spChg chg="add mod">
          <ac:chgData name="Dmitriy Shumekov" userId="ffbf198107bbd5ce" providerId="LiveId" clId="{4D67C7A2-FE00-4525-AF5E-9335BFF471AC}" dt="2025-01-27T13:29:30.961" v="7081" actId="20577"/>
          <ac:spMkLst>
            <pc:docMk/>
            <pc:sldMk cId="2762589429" sldId="353"/>
            <ac:spMk id="47" creationId="{3ED786C7-6CA6-6365-E5A2-AF3115209007}"/>
          </ac:spMkLst>
        </pc:spChg>
        <pc:spChg chg="add mod ord">
          <ac:chgData name="Dmitriy Shumekov" userId="ffbf198107bbd5ce" providerId="LiveId" clId="{4D67C7A2-FE00-4525-AF5E-9335BFF471AC}" dt="2025-01-28T05:10:22.081" v="7234" actId="166"/>
          <ac:spMkLst>
            <pc:docMk/>
            <pc:sldMk cId="2762589429" sldId="353"/>
            <ac:spMk id="48" creationId="{CFD6C87A-D08C-B95E-AD9F-9AA574C6B21D}"/>
          </ac:spMkLst>
        </pc:spChg>
        <pc:spChg chg="add mod ord">
          <ac:chgData name="Dmitriy Shumekov" userId="ffbf198107bbd5ce" providerId="LiveId" clId="{4D67C7A2-FE00-4525-AF5E-9335BFF471AC}" dt="2025-01-28T05:09:39.193" v="7231" actId="14100"/>
          <ac:spMkLst>
            <pc:docMk/>
            <pc:sldMk cId="2762589429" sldId="353"/>
            <ac:spMk id="49" creationId="{54C2B807-9A3F-6F22-1024-FD7E5AECB516}"/>
          </ac:spMkLst>
        </pc:spChg>
        <pc:spChg chg="add mod ord">
          <ac:chgData name="Dmitriy Shumekov" userId="ffbf198107bbd5ce" providerId="LiveId" clId="{4D67C7A2-FE00-4525-AF5E-9335BFF471AC}" dt="2025-01-28T05:10:33.929" v="7236" actId="14100"/>
          <ac:spMkLst>
            <pc:docMk/>
            <pc:sldMk cId="2762589429" sldId="353"/>
            <ac:spMk id="50" creationId="{CCDA49A2-02CF-EC44-3610-A65EEE00ECFB}"/>
          </ac:spMkLst>
        </pc:spChg>
        <pc:spChg chg="add mod ord">
          <ac:chgData name="Dmitriy Shumekov" userId="ffbf198107bbd5ce" providerId="LiveId" clId="{4D67C7A2-FE00-4525-AF5E-9335BFF471AC}" dt="2025-01-28T07:39:45.136" v="7269" actId="14100"/>
          <ac:spMkLst>
            <pc:docMk/>
            <pc:sldMk cId="2762589429" sldId="353"/>
            <ac:spMk id="51" creationId="{C5E4FFC4-0032-105F-2AD5-7D523910B21B}"/>
          </ac:spMkLst>
        </pc:spChg>
        <pc:graphicFrameChg chg="add mod modGraphic">
          <ac:chgData name="Dmitriy Shumekov" userId="ffbf198107bbd5ce" providerId="LiveId" clId="{4D67C7A2-FE00-4525-AF5E-9335BFF471AC}" dt="2025-01-28T05:01:15.356" v="7142" actId="14734"/>
          <ac:graphicFrameMkLst>
            <pc:docMk/>
            <pc:sldMk cId="2762589429" sldId="353"/>
            <ac:graphicFrameMk id="20" creationId="{DEB801CB-1EB8-6E82-F338-4EA1EFD462BD}"/>
          </ac:graphicFrameMkLst>
        </pc:graphicFrameChg>
        <pc:graphicFrameChg chg="mod modGraphic">
          <ac:chgData name="Dmitriy Shumekov" userId="ffbf198107bbd5ce" providerId="LiveId" clId="{4D67C7A2-FE00-4525-AF5E-9335BFF471AC}" dt="2025-01-30T11:38:57.223" v="7654" actId="207"/>
          <ac:graphicFrameMkLst>
            <pc:docMk/>
            <pc:sldMk cId="2762589429" sldId="353"/>
            <ac:graphicFrameMk id="34" creationId="{5FDAB003-2404-9916-8861-170D4CEB7324}"/>
          </ac:graphicFrameMkLst>
        </pc:graphicFrameChg>
        <pc:graphicFrameChg chg="add mod modGraphic">
          <ac:chgData name="Dmitriy Shumekov" userId="ffbf198107bbd5ce" providerId="LiveId" clId="{4D67C7A2-FE00-4525-AF5E-9335BFF471AC}" dt="2025-01-28T12:02:16.730" v="7543" actId="113"/>
          <ac:graphicFrameMkLst>
            <pc:docMk/>
            <pc:sldMk cId="2762589429" sldId="353"/>
            <ac:graphicFrameMk id="44" creationId="{7A66674D-C012-1D07-2721-FE00A68BDE36}"/>
          </ac:graphicFrameMkLst>
        </pc:graphicFrameChg>
        <pc:graphicFrameChg chg="add mod modGraphic">
          <ac:chgData name="Dmitriy Shumekov" userId="ffbf198107bbd5ce" providerId="LiveId" clId="{4D67C7A2-FE00-4525-AF5E-9335BFF471AC}" dt="2025-01-28T10:30:17.691" v="7373"/>
          <ac:graphicFrameMkLst>
            <pc:docMk/>
            <pc:sldMk cId="2762589429" sldId="353"/>
            <ac:graphicFrameMk id="45" creationId="{E73B76F4-360A-A2C4-5861-5B8BBA5D7A9E}"/>
          </ac:graphicFrameMkLst>
        </pc:graphicFrameChg>
      </pc:sldChg>
      <pc:sldChg chg="addSp delSp modSp add del mod">
        <pc:chgData name="Dmitriy Shumekov" userId="ffbf198107bbd5ce" providerId="LiveId" clId="{4D67C7A2-FE00-4525-AF5E-9335BFF471AC}" dt="2025-02-06T06:31:44.024" v="8774"/>
        <pc:sldMkLst>
          <pc:docMk/>
          <pc:sldMk cId="3623758685" sldId="354"/>
        </pc:sldMkLst>
        <pc:spChg chg="mod">
          <ac:chgData name="Dmitriy Shumekov" userId="ffbf198107bbd5ce" providerId="LiveId" clId="{4D67C7A2-FE00-4525-AF5E-9335BFF471AC}" dt="2025-01-28T10:17:52.304" v="7347" actId="20577"/>
          <ac:spMkLst>
            <pc:docMk/>
            <pc:sldMk cId="3623758685" sldId="354"/>
            <ac:spMk id="2" creationId="{2530C7D6-C9F6-56D4-7142-D81D6BB757F7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23758685" sldId="354"/>
            <ac:spMk id="3" creationId="{641D93FD-80E5-A594-E4D4-20C80FC360D0}"/>
          </ac:spMkLst>
        </pc:spChg>
        <pc:spChg chg="mod">
          <ac:chgData name="Dmitriy Shumekov" userId="ffbf198107bbd5ce" providerId="LiveId" clId="{4D67C7A2-FE00-4525-AF5E-9335BFF471AC}" dt="2025-01-28T10:29:28.296" v="7357" actId="20577"/>
          <ac:spMkLst>
            <pc:docMk/>
            <pc:sldMk cId="3623758685" sldId="354"/>
            <ac:spMk id="5" creationId="{AF59F865-ADBF-104A-1FDB-543501FE2439}"/>
          </ac:spMkLst>
        </pc:spChg>
        <pc:spChg chg="mod">
          <ac:chgData name="Dmitriy Shumekov" userId="ffbf198107bbd5ce" providerId="LiveId" clId="{4D67C7A2-FE00-4525-AF5E-9335BFF471AC}" dt="2025-01-28T11:44:27.444" v="7416" actId="20577"/>
          <ac:spMkLst>
            <pc:docMk/>
            <pc:sldMk cId="3623758685" sldId="354"/>
            <ac:spMk id="21" creationId="{3CA7988E-4D79-8CA2-8AEA-D4507B00DF1B}"/>
          </ac:spMkLst>
        </pc:spChg>
        <pc:spChg chg="mod">
          <ac:chgData name="Dmitriy Shumekov" userId="ffbf198107bbd5ce" providerId="LiveId" clId="{4D67C7A2-FE00-4525-AF5E-9335BFF471AC}" dt="2025-01-28T11:44:23.374" v="7412" actId="20577"/>
          <ac:spMkLst>
            <pc:docMk/>
            <pc:sldMk cId="3623758685" sldId="354"/>
            <ac:spMk id="23" creationId="{1BF5C1D4-5ED4-48DE-61ED-B9CC4E932517}"/>
          </ac:spMkLst>
        </pc:spChg>
        <pc:spChg chg="mod">
          <ac:chgData name="Dmitriy Shumekov" userId="ffbf198107bbd5ce" providerId="LiveId" clId="{4D67C7A2-FE00-4525-AF5E-9335BFF471AC}" dt="2025-01-28T11:44:30.826" v="7420" actId="20577"/>
          <ac:spMkLst>
            <pc:docMk/>
            <pc:sldMk cId="3623758685" sldId="354"/>
            <ac:spMk id="29" creationId="{167BF939-3C07-8037-B4B0-D29D9509E5CF}"/>
          </ac:spMkLst>
        </pc:spChg>
        <pc:graphicFrameChg chg="mod modGraphic">
          <ac:chgData name="Dmitriy Shumekov" userId="ffbf198107bbd5ce" providerId="LiveId" clId="{4D67C7A2-FE00-4525-AF5E-9335BFF471AC}" dt="2025-01-28T11:44:12.405" v="7408" actId="108"/>
          <ac:graphicFrameMkLst>
            <pc:docMk/>
            <pc:sldMk cId="3623758685" sldId="354"/>
            <ac:graphicFrameMk id="20" creationId="{D7DDC512-D22A-09DE-6B7A-7C9D190901CB}"/>
          </ac:graphicFrameMkLst>
        </pc:graphicFrameChg>
        <pc:graphicFrameChg chg="mod modGraphic">
          <ac:chgData name="Dmitriy Shumekov" userId="ffbf198107bbd5ce" providerId="LiveId" clId="{4D67C7A2-FE00-4525-AF5E-9335BFF471AC}" dt="2025-01-28T12:02:34.030" v="7545" actId="3064"/>
          <ac:graphicFrameMkLst>
            <pc:docMk/>
            <pc:sldMk cId="3623758685" sldId="354"/>
            <ac:graphicFrameMk id="34" creationId="{9CB2A656-17D5-BD4E-42E5-C50B165FA1FF}"/>
          </ac:graphicFrameMkLst>
        </pc:graphicFrameChg>
        <pc:graphicFrameChg chg="mod modGraphic">
          <ac:chgData name="Dmitriy Shumekov" userId="ffbf198107bbd5ce" providerId="LiveId" clId="{4D67C7A2-FE00-4525-AF5E-9335BFF471AC}" dt="2025-01-28T12:02:10.871" v="7542" actId="113"/>
          <ac:graphicFrameMkLst>
            <pc:docMk/>
            <pc:sldMk cId="3623758685" sldId="354"/>
            <ac:graphicFrameMk id="44" creationId="{A15CDD83-E902-B078-B7B3-53A58C192057}"/>
          </ac:graphicFrameMkLst>
        </pc:graphicFrameChg>
        <pc:graphicFrameChg chg="mod modGraphic">
          <ac:chgData name="Dmitriy Shumekov" userId="ffbf198107bbd5ce" providerId="LiveId" clId="{4D67C7A2-FE00-4525-AF5E-9335BFF471AC}" dt="2025-02-03T12:50:33.718" v="8226" actId="242"/>
          <ac:graphicFrameMkLst>
            <pc:docMk/>
            <pc:sldMk cId="3623758685" sldId="354"/>
            <ac:graphicFrameMk id="45" creationId="{74F44FAD-EA98-A589-8D67-042FE83AB0DD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089986922" sldId="35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089986922" sldId="356"/>
            <ac:spMk id="3" creationId="{0D0EA638-DDF4-4448-A99B-670B2B1BA608}"/>
          </ac:spMkLst>
        </pc:spChg>
        <pc:graphicFrameChg chg="modGraphic">
          <ac:chgData name="Dmitriy Shumekov" userId="ffbf198107bbd5ce" providerId="LiveId" clId="{4D67C7A2-FE00-4525-AF5E-9335BFF471AC}" dt="2025-02-03T12:50:31.007" v="8225" actId="242"/>
          <ac:graphicFrameMkLst>
            <pc:docMk/>
            <pc:sldMk cId="3089986922" sldId="356"/>
            <ac:graphicFrameMk id="45" creationId="{CE9DEAD6-139D-7D68-9111-88E4EFABA0F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482734152" sldId="35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82734152" sldId="357"/>
            <ac:spMk id="3" creationId="{4AABD631-F114-6F11-C40B-CD0D0E8CB798}"/>
          </ac:spMkLst>
        </pc:spChg>
        <pc:graphicFrameChg chg="modGraphic">
          <ac:chgData name="Dmitriy Shumekov" userId="ffbf198107bbd5ce" providerId="LiveId" clId="{4D67C7A2-FE00-4525-AF5E-9335BFF471AC}" dt="2025-02-03T12:49:32.226" v="8207" actId="242"/>
          <ac:graphicFrameMkLst>
            <pc:docMk/>
            <pc:sldMk cId="2482734152" sldId="357"/>
            <ac:graphicFrameMk id="45" creationId="{95468A49-C78B-E59B-53D6-15B946E49FAD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643081472" sldId="35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43081472" sldId="358"/>
            <ac:spMk id="3" creationId="{A4A87323-9A13-84BC-EC54-FA8F9156445B}"/>
          </ac:spMkLst>
        </pc:spChg>
        <pc:graphicFrameChg chg="modGraphic">
          <ac:chgData name="Dmitriy Shumekov" userId="ffbf198107bbd5ce" providerId="LiveId" clId="{4D67C7A2-FE00-4525-AF5E-9335BFF471AC}" dt="2025-02-03T12:49:35.711" v="8208" actId="242"/>
          <ac:graphicFrameMkLst>
            <pc:docMk/>
            <pc:sldMk cId="3643081472" sldId="358"/>
            <ac:graphicFrameMk id="45" creationId="{3E4288C6-BBAC-F84B-08D0-E2F39597E41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323941000" sldId="35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323941000" sldId="359"/>
            <ac:spMk id="3" creationId="{5DFECDE5-AB32-611F-EADA-574111F3B837}"/>
          </ac:spMkLst>
        </pc:spChg>
        <pc:graphicFrameChg chg="modGraphic">
          <ac:chgData name="Dmitriy Shumekov" userId="ffbf198107bbd5ce" providerId="LiveId" clId="{4D67C7A2-FE00-4525-AF5E-9335BFF471AC}" dt="2025-02-03T12:49:39.125" v="8209" actId="242"/>
          <ac:graphicFrameMkLst>
            <pc:docMk/>
            <pc:sldMk cId="1323941000" sldId="359"/>
            <ac:graphicFrameMk id="45" creationId="{D4A7B777-BE59-CDAD-42C2-F2FE4E79D4A7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86390271" sldId="36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86390271" sldId="360"/>
            <ac:spMk id="3" creationId="{188A5043-7BF3-054B-F502-A14360E2BA42}"/>
          </ac:spMkLst>
        </pc:spChg>
        <pc:graphicFrameChg chg="modGraphic">
          <ac:chgData name="Dmitriy Shumekov" userId="ffbf198107bbd5ce" providerId="LiveId" clId="{4D67C7A2-FE00-4525-AF5E-9335BFF471AC}" dt="2025-02-03T12:49:42.246" v="8210" actId="242"/>
          <ac:graphicFrameMkLst>
            <pc:docMk/>
            <pc:sldMk cId="2086390271" sldId="360"/>
            <ac:graphicFrameMk id="45" creationId="{3ACB93E4-1865-5C10-E335-9D81986A792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178788434" sldId="36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78788434" sldId="361"/>
            <ac:spMk id="3" creationId="{40B9384F-998B-5F86-34A2-2DBBD4C29A97}"/>
          </ac:spMkLst>
        </pc:spChg>
        <pc:graphicFrameChg chg="modGraphic">
          <ac:chgData name="Dmitriy Shumekov" userId="ffbf198107bbd5ce" providerId="LiveId" clId="{4D67C7A2-FE00-4525-AF5E-9335BFF471AC}" dt="2025-02-03T12:49:45.898" v="8211" actId="242"/>
          <ac:graphicFrameMkLst>
            <pc:docMk/>
            <pc:sldMk cId="1178788434" sldId="361"/>
            <ac:graphicFrameMk id="45" creationId="{9D393509-188C-98A8-40AC-3F1347C103E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4157430194" sldId="36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157430194" sldId="362"/>
            <ac:spMk id="3" creationId="{5FA30EF6-331D-768D-2144-8785BAA20884}"/>
          </ac:spMkLst>
        </pc:spChg>
        <pc:graphicFrameChg chg="modGraphic">
          <ac:chgData name="Dmitriy Shumekov" userId="ffbf198107bbd5ce" providerId="LiveId" clId="{4D67C7A2-FE00-4525-AF5E-9335BFF471AC}" dt="2025-02-03T12:49:48.951" v="8212" actId="242"/>
          <ac:graphicFrameMkLst>
            <pc:docMk/>
            <pc:sldMk cId="4157430194" sldId="362"/>
            <ac:graphicFrameMk id="45" creationId="{DAF516F7-21A4-1D6D-3923-D3EA809083F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683576970" sldId="36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683576970" sldId="363"/>
            <ac:spMk id="3" creationId="{9D6A0326-5F76-BD80-F961-FF9219C1D181}"/>
          </ac:spMkLst>
        </pc:spChg>
        <pc:graphicFrameChg chg="modGraphic">
          <ac:chgData name="Dmitriy Shumekov" userId="ffbf198107bbd5ce" providerId="LiveId" clId="{4D67C7A2-FE00-4525-AF5E-9335BFF471AC}" dt="2025-02-03T12:49:52.545" v="8213" actId="242"/>
          <ac:graphicFrameMkLst>
            <pc:docMk/>
            <pc:sldMk cId="3683576970" sldId="363"/>
            <ac:graphicFrameMk id="45" creationId="{2FEB728E-8612-F73E-C04D-0CD16B77AFE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413948136" sldId="364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413948136" sldId="364"/>
            <ac:spMk id="3" creationId="{81A81DF1-0A05-610B-7E94-5B6B04B6F521}"/>
          </ac:spMkLst>
        </pc:spChg>
        <pc:graphicFrameChg chg="modGraphic">
          <ac:chgData name="Dmitriy Shumekov" userId="ffbf198107bbd5ce" providerId="LiveId" clId="{4D67C7A2-FE00-4525-AF5E-9335BFF471AC}" dt="2025-02-03T12:49:55.699" v="8214" actId="242"/>
          <ac:graphicFrameMkLst>
            <pc:docMk/>
            <pc:sldMk cId="3413948136" sldId="364"/>
            <ac:graphicFrameMk id="45" creationId="{8D6887F0-190C-7675-AB8E-EBD32DE1BB3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693705705" sldId="365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693705705" sldId="365"/>
            <ac:spMk id="3" creationId="{0CD5A894-335F-BE44-1610-288B82BE210B}"/>
          </ac:spMkLst>
        </pc:spChg>
        <pc:graphicFrameChg chg="modGraphic">
          <ac:chgData name="Dmitriy Shumekov" userId="ffbf198107bbd5ce" providerId="LiveId" clId="{4D67C7A2-FE00-4525-AF5E-9335BFF471AC}" dt="2025-02-03T12:49:58.962" v="8215" actId="242"/>
          <ac:graphicFrameMkLst>
            <pc:docMk/>
            <pc:sldMk cId="1693705705" sldId="365"/>
            <ac:graphicFrameMk id="45" creationId="{1464B7DE-3C9A-45EC-0344-85868725352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648189197" sldId="36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648189197" sldId="366"/>
            <ac:spMk id="3" creationId="{9A77882B-1A5F-9310-A6FC-008603D0DC4A}"/>
          </ac:spMkLst>
        </pc:spChg>
        <pc:graphicFrameChg chg="modGraphic">
          <ac:chgData name="Dmitriy Shumekov" userId="ffbf198107bbd5ce" providerId="LiveId" clId="{4D67C7A2-FE00-4525-AF5E-9335BFF471AC}" dt="2025-02-03T12:50:01.890" v="8216" actId="242"/>
          <ac:graphicFrameMkLst>
            <pc:docMk/>
            <pc:sldMk cId="648189197" sldId="366"/>
            <ac:graphicFrameMk id="45" creationId="{9FE04D3A-4403-B2FB-7CBC-F9999AA22EA2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288991958" sldId="36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88991958" sldId="367"/>
            <ac:spMk id="3" creationId="{02DC688F-BB77-5F6B-A673-81FA8A39C398}"/>
          </ac:spMkLst>
        </pc:spChg>
        <pc:graphicFrameChg chg="modGraphic">
          <ac:chgData name="Dmitriy Shumekov" userId="ffbf198107bbd5ce" providerId="LiveId" clId="{4D67C7A2-FE00-4525-AF5E-9335BFF471AC}" dt="2025-02-03T12:50:04.633" v="8217" actId="242"/>
          <ac:graphicFrameMkLst>
            <pc:docMk/>
            <pc:sldMk cId="1288991958" sldId="367"/>
            <ac:graphicFrameMk id="45" creationId="{0C9CB03D-ED47-730F-D4CB-5591F921575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303940885" sldId="36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303940885" sldId="368"/>
            <ac:spMk id="3" creationId="{275DFE11-38ED-E4FF-96CA-F2917E0FCB9F}"/>
          </ac:spMkLst>
        </pc:spChg>
        <pc:graphicFrameChg chg="modGraphic">
          <ac:chgData name="Dmitriy Shumekov" userId="ffbf198107bbd5ce" providerId="LiveId" clId="{4D67C7A2-FE00-4525-AF5E-9335BFF471AC}" dt="2025-02-03T12:50:08.450" v="8218" actId="242"/>
          <ac:graphicFrameMkLst>
            <pc:docMk/>
            <pc:sldMk cId="2303940885" sldId="368"/>
            <ac:graphicFrameMk id="45" creationId="{8DB98049-3931-CAE0-C6C3-39EE63A4DB90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168026504" sldId="36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68026504" sldId="369"/>
            <ac:spMk id="3" creationId="{24D6B9B6-36C5-EB1C-C825-A499F70BA6A8}"/>
          </ac:spMkLst>
        </pc:spChg>
        <pc:graphicFrameChg chg="modGraphic">
          <ac:chgData name="Dmitriy Shumekov" userId="ffbf198107bbd5ce" providerId="LiveId" clId="{4D67C7A2-FE00-4525-AF5E-9335BFF471AC}" dt="2025-02-03T12:50:12.877" v="8219" actId="242"/>
          <ac:graphicFrameMkLst>
            <pc:docMk/>
            <pc:sldMk cId="2168026504" sldId="369"/>
            <ac:graphicFrameMk id="45" creationId="{FD633D23-C8DF-D22E-E660-1E8A78FF219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756283724" sldId="37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756283724" sldId="370"/>
            <ac:spMk id="3" creationId="{15EC4C6C-1114-3AEB-D84E-F5F74CC4B9DB}"/>
          </ac:spMkLst>
        </pc:spChg>
        <pc:graphicFrameChg chg="modGraphic">
          <ac:chgData name="Dmitriy Shumekov" userId="ffbf198107bbd5ce" providerId="LiveId" clId="{4D67C7A2-FE00-4525-AF5E-9335BFF471AC}" dt="2025-02-03T12:50:16.360" v="8220" actId="242"/>
          <ac:graphicFrameMkLst>
            <pc:docMk/>
            <pc:sldMk cId="3756283724" sldId="370"/>
            <ac:graphicFrameMk id="45" creationId="{B81C3DF0-C41A-630D-F0D5-77C126F845D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941664838" sldId="37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941664838" sldId="371"/>
            <ac:spMk id="3" creationId="{398470E4-CDEA-B2BB-FFB0-6C95EB707AA5}"/>
          </ac:spMkLst>
        </pc:spChg>
        <pc:graphicFrameChg chg="modGraphic">
          <ac:chgData name="Dmitriy Shumekov" userId="ffbf198107bbd5ce" providerId="LiveId" clId="{4D67C7A2-FE00-4525-AF5E-9335BFF471AC}" dt="2025-02-03T12:50:19.430" v="8221" actId="242"/>
          <ac:graphicFrameMkLst>
            <pc:docMk/>
            <pc:sldMk cId="941664838" sldId="371"/>
            <ac:graphicFrameMk id="45" creationId="{C3625402-7BE7-3E8A-5928-CF1E47B456F8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840990744" sldId="37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840990744" sldId="372"/>
            <ac:spMk id="3" creationId="{5141AB4A-5817-B922-A178-ABDA65AA3E2D}"/>
          </ac:spMkLst>
        </pc:spChg>
        <pc:graphicFrameChg chg="modGraphic">
          <ac:chgData name="Dmitriy Shumekov" userId="ffbf198107bbd5ce" providerId="LiveId" clId="{4D67C7A2-FE00-4525-AF5E-9335BFF471AC}" dt="2025-02-03T12:50:22.275" v="8222" actId="242"/>
          <ac:graphicFrameMkLst>
            <pc:docMk/>
            <pc:sldMk cId="1840990744" sldId="372"/>
            <ac:graphicFrameMk id="45" creationId="{26032561-7642-83A7-871E-90B1FE6D58B1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958646343" sldId="37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958646343" sldId="373"/>
            <ac:spMk id="3" creationId="{F1489BF8-DB51-A984-276D-42226A87AF37}"/>
          </ac:spMkLst>
        </pc:spChg>
        <pc:graphicFrameChg chg="modGraphic">
          <ac:chgData name="Dmitriy Shumekov" userId="ffbf198107bbd5ce" providerId="LiveId" clId="{4D67C7A2-FE00-4525-AF5E-9335BFF471AC}" dt="2025-02-03T12:50:25.026" v="8223" actId="242"/>
          <ac:graphicFrameMkLst>
            <pc:docMk/>
            <pc:sldMk cId="2958646343" sldId="373"/>
            <ac:graphicFrameMk id="45" creationId="{157056F7-7D1C-290F-2261-0E90648EFDF4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708349825" sldId="374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708349825" sldId="374"/>
            <ac:spMk id="3" creationId="{44C99365-D5E0-74E1-4C80-D93DA05B6836}"/>
          </ac:spMkLst>
        </pc:spChg>
        <pc:graphicFrameChg chg="modGraphic">
          <ac:chgData name="Dmitriy Shumekov" userId="ffbf198107bbd5ce" providerId="LiveId" clId="{4D67C7A2-FE00-4525-AF5E-9335BFF471AC}" dt="2025-02-03T12:50:28.174" v="8224" actId="242"/>
          <ac:graphicFrameMkLst>
            <pc:docMk/>
            <pc:sldMk cId="1708349825" sldId="374"/>
            <ac:graphicFrameMk id="45" creationId="{58581842-2057-351D-079A-9AF8A306F549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123280898" sldId="375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23280898" sldId="375"/>
            <ac:spMk id="3" creationId="{666399A9-5524-A0D0-640C-3EC6ACEC8020}"/>
          </ac:spMkLst>
        </pc:spChg>
        <pc:graphicFrameChg chg="modGraphic">
          <ac:chgData name="Dmitriy Shumekov" userId="ffbf198107bbd5ce" providerId="LiveId" clId="{4D67C7A2-FE00-4525-AF5E-9335BFF471AC}" dt="2025-02-03T12:51:34.111" v="8244" actId="242"/>
          <ac:graphicFrameMkLst>
            <pc:docMk/>
            <pc:sldMk cId="2123280898" sldId="375"/>
            <ac:graphicFrameMk id="4" creationId="{FC0600FC-7734-5D77-0C4F-D9154016255B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25734966" sldId="37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25734966" sldId="376"/>
            <ac:spMk id="3" creationId="{AD87E0A7-8751-DE71-9360-3770C3CB045D}"/>
          </ac:spMkLst>
        </pc:spChg>
        <pc:graphicFrameChg chg="modGraphic">
          <ac:chgData name="Dmitriy Shumekov" userId="ffbf198107bbd5ce" providerId="LiveId" clId="{4D67C7A2-FE00-4525-AF5E-9335BFF471AC}" dt="2025-02-03T12:50:40.043" v="8227" actId="242"/>
          <ac:graphicFrameMkLst>
            <pc:docMk/>
            <pc:sldMk cId="2025734966" sldId="376"/>
            <ac:graphicFrameMk id="45" creationId="{A2B18525-C90B-FC47-1F08-8B09276E98E7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135726529" sldId="37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135726529" sldId="377"/>
            <ac:spMk id="3" creationId="{85E55980-49A1-FB32-5B3B-FC305760BFE2}"/>
          </ac:spMkLst>
        </pc:spChg>
        <pc:graphicFrameChg chg="modGraphic">
          <ac:chgData name="Dmitriy Shumekov" userId="ffbf198107bbd5ce" providerId="LiveId" clId="{4D67C7A2-FE00-4525-AF5E-9335BFF471AC}" dt="2025-02-03T12:50:43.819" v="8228" actId="242"/>
          <ac:graphicFrameMkLst>
            <pc:docMk/>
            <pc:sldMk cId="1135726529" sldId="377"/>
            <ac:graphicFrameMk id="45" creationId="{8E58088E-07B4-F859-553B-9A5EFDAC0F2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795053230" sldId="37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795053230" sldId="378"/>
            <ac:spMk id="3" creationId="{F19958A4-353A-7F6C-5A0F-587AD713089B}"/>
          </ac:spMkLst>
        </pc:spChg>
        <pc:graphicFrameChg chg="modGraphic">
          <ac:chgData name="Dmitriy Shumekov" userId="ffbf198107bbd5ce" providerId="LiveId" clId="{4D67C7A2-FE00-4525-AF5E-9335BFF471AC}" dt="2025-02-03T12:50:46.593" v="8229" actId="242"/>
          <ac:graphicFrameMkLst>
            <pc:docMk/>
            <pc:sldMk cId="2795053230" sldId="378"/>
            <ac:graphicFrameMk id="45" creationId="{4382271F-FEE0-66E3-9288-0496B60F427E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482765321" sldId="37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482765321" sldId="379"/>
            <ac:spMk id="3" creationId="{AA604746-C18B-F78E-FBCA-FEFC8FA491A1}"/>
          </ac:spMkLst>
        </pc:spChg>
        <pc:graphicFrameChg chg="modGraphic">
          <ac:chgData name="Dmitriy Shumekov" userId="ffbf198107bbd5ce" providerId="LiveId" clId="{4D67C7A2-FE00-4525-AF5E-9335BFF471AC}" dt="2025-02-03T12:50:48.677" v="8230" actId="242"/>
          <ac:graphicFrameMkLst>
            <pc:docMk/>
            <pc:sldMk cId="3482765321" sldId="379"/>
            <ac:graphicFrameMk id="45" creationId="{CEB79AC6-121D-978C-34DB-0E830D2B1868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516466213" sldId="38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516466213" sldId="380"/>
            <ac:spMk id="3" creationId="{D11241BB-205F-488B-8FCF-3BF6A1BEE279}"/>
          </ac:spMkLst>
        </pc:spChg>
        <pc:graphicFrameChg chg="modGraphic">
          <ac:chgData name="Dmitriy Shumekov" userId="ffbf198107bbd5ce" providerId="LiveId" clId="{4D67C7A2-FE00-4525-AF5E-9335BFF471AC}" dt="2025-02-03T12:50:51.636" v="8231" actId="242"/>
          <ac:graphicFrameMkLst>
            <pc:docMk/>
            <pc:sldMk cId="1516466213" sldId="380"/>
            <ac:graphicFrameMk id="45" creationId="{0C3B64FE-8D90-8B3E-933A-08D7347E5482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139237080" sldId="38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139237080" sldId="381"/>
            <ac:spMk id="3" creationId="{C01BE000-6041-7FBD-A9A5-1B1FCE67F019}"/>
          </ac:spMkLst>
        </pc:spChg>
        <pc:graphicFrameChg chg="modGraphic">
          <ac:chgData name="Dmitriy Shumekov" userId="ffbf198107bbd5ce" providerId="LiveId" clId="{4D67C7A2-FE00-4525-AF5E-9335BFF471AC}" dt="2025-02-03T12:50:54.250" v="8232" actId="242"/>
          <ac:graphicFrameMkLst>
            <pc:docMk/>
            <pc:sldMk cId="2139237080" sldId="381"/>
            <ac:graphicFrameMk id="45" creationId="{A9A36FFC-7151-13D8-59F0-6A09ABC84FAF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993292588" sldId="38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993292588" sldId="382"/>
            <ac:spMk id="3" creationId="{722DFB5A-A84E-5E92-B23E-C67DBF2CF15F}"/>
          </ac:spMkLst>
        </pc:spChg>
        <pc:graphicFrameChg chg="modGraphic">
          <ac:chgData name="Dmitriy Shumekov" userId="ffbf198107bbd5ce" providerId="LiveId" clId="{4D67C7A2-FE00-4525-AF5E-9335BFF471AC}" dt="2025-02-03T12:50:57.921" v="8233" actId="242"/>
          <ac:graphicFrameMkLst>
            <pc:docMk/>
            <pc:sldMk cId="1993292588" sldId="382"/>
            <ac:graphicFrameMk id="45" creationId="{BED90FDB-5605-AF69-591E-22019A8A69F3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55721754" sldId="38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55721754" sldId="383"/>
            <ac:spMk id="3" creationId="{5A61A7F4-326B-65C6-FFBD-0D056EC5C2A0}"/>
          </ac:spMkLst>
        </pc:spChg>
        <pc:graphicFrameChg chg="modGraphic">
          <ac:chgData name="Dmitriy Shumekov" userId="ffbf198107bbd5ce" providerId="LiveId" clId="{4D67C7A2-FE00-4525-AF5E-9335BFF471AC}" dt="2025-02-03T12:51:00.389" v="8234" actId="242"/>
          <ac:graphicFrameMkLst>
            <pc:docMk/>
            <pc:sldMk cId="355721754" sldId="383"/>
            <ac:graphicFrameMk id="45" creationId="{E7BCBBBD-7FE2-701B-B2B9-A3F13122B3B1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67435967" sldId="384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67435967" sldId="384"/>
            <ac:spMk id="3" creationId="{567D198C-B8EB-9D55-F92B-CC537214405E}"/>
          </ac:spMkLst>
        </pc:spChg>
        <pc:graphicFrameChg chg="modGraphic">
          <ac:chgData name="Dmitriy Shumekov" userId="ffbf198107bbd5ce" providerId="LiveId" clId="{4D67C7A2-FE00-4525-AF5E-9335BFF471AC}" dt="2025-02-03T12:51:03.144" v="8235" actId="242"/>
          <ac:graphicFrameMkLst>
            <pc:docMk/>
            <pc:sldMk cId="2067435967" sldId="384"/>
            <ac:graphicFrameMk id="45" creationId="{64D2DDE4-F841-88F7-2529-91A91AFFFB8E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04016" sldId="385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04016" sldId="385"/>
            <ac:spMk id="3" creationId="{9FB63C01-7646-898F-1C16-E45B8D0252FB}"/>
          </ac:spMkLst>
        </pc:spChg>
        <pc:graphicFrameChg chg="modGraphic">
          <ac:chgData name="Dmitriy Shumekov" userId="ffbf198107bbd5ce" providerId="LiveId" clId="{4D67C7A2-FE00-4525-AF5E-9335BFF471AC}" dt="2025-02-03T12:51:05.941" v="8236" actId="242"/>
          <ac:graphicFrameMkLst>
            <pc:docMk/>
            <pc:sldMk cId="204016" sldId="385"/>
            <ac:graphicFrameMk id="45" creationId="{AF267608-AF03-8348-0DE8-149761BD8CBA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290616455" sldId="386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90616455" sldId="386"/>
            <ac:spMk id="3" creationId="{37C23D6A-7A25-E4AB-D2AD-40AC18679BA2}"/>
          </ac:spMkLst>
        </pc:spChg>
        <pc:graphicFrameChg chg="modGraphic">
          <ac:chgData name="Dmitriy Shumekov" userId="ffbf198107bbd5ce" providerId="LiveId" clId="{4D67C7A2-FE00-4525-AF5E-9335BFF471AC}" dt="2025-02-03T12:51:09.406" v="8237" actId="242"/>
          <ac:graphicFrameMkLst>
            <pc:docMk/>
            <pc:sldMk cId="3290616455" sldId="386"/>
            <ac:graphicFrameMk id="45" creationId="{0F298E44-9006-746D-1382-9EF7067367C0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3200639705" sldId="387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3200639705" sldId="387"/>
            <ac:spMk id="3" creationId="{1C687BBC-E625-79C6-EFA8-09FE86854AA0}"/>
          </ac:spMkLst>
        </pc:spChg>
        <pc:graphicFrameChg chg="modGraphic">
          <ac:chgData name="Dmitriy Shumekov" userId="ffbf198107bbd5ce" providerId="LiveId" clId="{4D67C7A2-FE00-4525-AF5E-9335BFF471AC}" dt="2025-02-03T12:51:12.450" v="8238" actId="242"/>
          <ac:graphicFrameMkLst>
            <pc:docMk/>
            <pc:sldMk cId="3200639705" sldId="387"/>
            <ac:graphicFrameMk id="45" creationId="{6DCBEE14-9F7E-94AE-7DE8-93E193567DD5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61349931" sldId="388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61349931" sldId="388"/>
            <ac:spMk id="3" creationId="{95B0640F-2F40-CDDC-0A23-2027729447FA}"/>
          </ac:spMkLst>
        </pc:spChg>
        <pc:graphicFrameChg chg="modGraphic">
          <ac:chgData name="Dmitriy Shumekov" userId="ffbf198107bbd5ce" providerId="LiveId" clId="{4D67C7A2-FE00-4525-AF5E-9335BFF471AC}" dt="2025-02-03T12:51:16.084" v="8239" actId="242"/>
          <ac:graphicFrameMkLst>
            <pc:docMk/>
            <pc:sldMk cId="261349931" sldId="388"/>
            <ac:graphicFrameMk id="45" creationId="{60F92D77-E698-FB0F-57C4-008FCCB809BC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43652351" sldId="389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3652351" sldId="389"/>
            <ac:spMk id="3" creationId="{8162DA43-AC97-B141-AD93-88B3ED1BE6EA}"/>
          </ac:spMkLst>
        </pc:spChg>
        <pc:graphicFrameChg chg="modGraphic">
          <ac:chgData name="Dmitriy Shumekov" userId="ffbf198107bbd5ce" providerId="LiveId" clId="{4D67C7A2-FE00-4525-AF5E-9335BFF471AC}" dt="2025-02-03T12:51:19.761" v="8240" actId="242"/>
          <ac:graphicFrameMkLst>
            <pc:docMk/>
            <pc:sldMk cId="43652351" sldId="389"/>
            <ac:graphicFrameMk id="45" creationId="{942E4B1E-C96F-1AFC-E531-C8430DC8BFB3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1287908154" sldId="390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287908154" sldId="390"/>
            <ac:spMk id="3" creationId="{ADD20592-CC40-6DF9-D6D2-643E31E4A6B2}"/>
          </ac:spMkLst>
        </pc:spChg>
        <pc:graphicFrameChg chg="modGraphic">
          <ac:chgData name="Dmitriy Shumekov" userId="ffbf198107bbd5ce" providerId="LiveId" clId="{4D67C7A2-FE00-4525-AF5E-9335BFF471AC}" dt="2025-02-03T12:51:22.898" v="8241" actId="242"/>
          <ac:graphicFrameMkLst>
            <pc:docMk/>
            <pc:sldMk cId="1287908154" sldId="390"/>
            <ac:graphicFrameMk id="45" creationId="{8A8E2695-6982-8D08-C8F3-F41E21C1AFC4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2428028070" sldId="391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2428028070" sldId="391"/>
            <ac:spMk id="3" creationId="{06163B31-27B2-5BA2-FD92-066ABC99FA18}"/>
          </ac:spMkLst>
        </pc:spChg>
        <pc:graphicFrameChg chg="modGraphic">
          <ac:chgData name="Dmitriy Shumekov" userId="ffbf198107bbd5ce" providerId="LiveId" clId="{4D67C7A2-FE00-4525-AF5E-9335BFF471AC}" dt="2025-02-03T12:51:26.229" v="8242" actId="242"/>
          <ac:graphicFrameMkLst>
            <pc:docMk/>
            <pc:sldMk cId="2428028070" sldId="391"/>
            <ac:graphicFrameMk id="45" creationId="{62CA666C-A4F8-41A2-4A83-7B9A44B05932}"/>
          </ac:graphicFrameMkLst>
        </pc:graphicFrameChg>
      </pc:sldChg>
      <pc:sldChg chg="modSp add mod">
        <pc:chgData name="Dmitriy Shumekov" userId="ffbf198107bbd5ce" providerId="LiveId" clId="{4D67C7A2-FE00-4525-AF5E-9335BFF471AC}" dt="2025-02-06T06:31:44.024" v="8774"/>
        <pc:sldMkLst>
          <pc:docMk/>
          <pc:sldMk cId="866300679" sldId="392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866300679" sldId="392"/>
            <ac:spMk id="3" creationId="{A4A195CC-787E-4DD7-D15C-2437F7B1A228}"/>
          </ac:spMkLst>
        </pc:spChg>
        <pc:graphicFrameChg chg="modGraphic">
          <ac:chgData name="Dmitriy Shumekov" userId="ffbf198107bbd5ce" providerId="LiveId" clId="{4D67C7A2-FE00-4525-AF5E-9335BFF471AC}" dt="2025-02-03T12:51:30.783" v="8243" actId="242"/>
          <ac:graphicFrameMkLst>
            <pc:docMk/>
            <pc:sldMk cId="866300679" sldId="392"/>
            <ac:graphicFrameMk id="45" creationId="{84E699CC-DC69-1232-1C59-DFC05524C508}"/>
          </ac:graphicFrameMkLst>
        </pc:graphicFrameChg>
      </pc:sldChg>
      <pc:sldChg chg="modSp add">
        <pc:chgData name="Dmitriy Shumekov" userId="ffbf198107bbd5ce" providerId="LiveId" clId="{4D67C7A2-FE00-4525-AF5E-9335BFF471AC}" dt="2025-02-06T06:31:44.024" v="8774"/>
        <pc:sldMkLst>
          <pc:docMk/>
          <pc:sldMk cId="1492774092" sldId="393"/>
        </pc:sldMkLst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492774092" sldId="393"/>
            <ac:spMk id="3" creationId="{573A82BD-7E2E-5BA7-848C-33FCCEB8D5B7}"/>
          </ac:spMkLst>
        </pc:spChg>
      </pc:sldChg>
      <pc:sldChg chg="addSp delSp modSp add mod modNotesTx">
        <pc:chgData name="Dmitriy Shumekov" userId="ffbf198107bbd5ce" providerId="LiveId" clId="{4D67C7A2-FE00-4525-AF5E-9335BFF471AC}" dt="2025-02-06T06:31:44.024" v="8774"/>
        <pc:sldMkLst>
          <pc:docMk/>
          <pc:sldMk cId="418434920" sldId="394"/>
        </pc:sldMkLst>
        <pc:spChg chg="mod">
          <ac:chgData name="Dmitriy Shumekov" userId="ffbf198107bbd5ce" providerId="LiveId" clId="{4D67C7A2-FE00-4525-AF5E-9335BFF471AC}" dt="2025-02-06T05:28:02.152" v="8377" actId="20577"/>
          <ac:spMkLst>
            <pc:docMk/>
            <pc:sldMk cId="418434920" sldId="394"/>
            <ac:spMk id="2" creationId="{7958C9F0-47DA-9979-9168-EA31CD31C10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418434920" sldId="394"/>
            <ac:spMk id="3" creationId="{7464B9CF-C6CA-A8B1-13F0-A2436552CE20}"/>
          </ac:spMkLst>
        </pc:spChg>
        <pc:spChg chg="add del mod">
          <ac:chgData name="Dmitriy Shumekov" userId="ffbf198107bbd5ce" providerId="LiveId" clId="{4D67C7A2-FE00-4525-AF5E-9335BFF471AC}" dt="2025-02-06T05:28:04.380" v="8378" actId="478"/>
          <ac:spMkLst>
            <pc:docMk/>
            <pc:sldMk cId="418434920" sldId="394"/>
            <ac:spMk id="7" creationId="{EBADD750-6F49-9B18-80AA-E5552DF23BB0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5" creationId="{D561960E-4ABC-AF96-83B0-88197331E930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6" creationId="{C901AF8B-F1E9-1E69-CD68-3095DEE9FCD7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7" creationId="{3B84FE65-7D66-DDC3-2396-30F841C633A9}"/>
          </ac:spMkLst>
        </pc:spChg>
        <pc:spChg chg="del">
          <ac:chgData name="Dmitriy Shumekov" userId="ffbf198107bbd5ce" providerId="LiveId" clId="{4D67C7A2-FE00-4525-AF5E-9335BFF471AC}" dt="2025-02-05T13:20:31.837" v="8246" actId="478"/>
          <ac:spMkLst>
            <pc:docMk/>
            <pc:sldMk cId="418434920" sldId="394"/>
            <ac:spMk id="28" creationId="{C6642D37-B75E-F519-2565-723F1FE11397}"/>
          </ac:spMkLst>
        </pc:spChg>
        <pc:graphicFrameChg chg="add del mod modGraphic">
          <ac:chgData name="Dmitriy Shumekov" userId="ffbf198107bbd5ce" providerId="LiveId" clId="{4D67C7A2-FE00-4525-AF5E-9335BFF471AC}" dt="2025-02-06T05:27:47.899" v="8364" actId="478"/>
          <ac:graphicFrameMkLst>
            <pc:docMk/>
            <pc:sldMk cId="418434920" sldId="394"/>
            <ac:graphicFrameMk id="4" creationId="{F9642B74-D611-8EAE-9557-A0A02305087D}"/>
          </ac:graphicFrameMkLst>
        </pc:graphicFrameChg>
        <pc:graphicFrameChg chg="add del mod modGraphic">
          <ac:chgData name="Dmitriy Shumekov" userId="ffbf198107bbd5ce" providerId="LiveId" clId="{4D67C7A2-FE00-4525-AF5E-9335BFF471AC}" dt="2025-02-06T05:27:37.694" v="8361" actId="478"/>
          <ac:graphicFrameMkLst>
            <pc:docMk/>
            <pc:sldMk cId="418434920" sldId="394"/>
            <ac:graphicFrameMk id="5" creationId="{11922D96-F83C-1AC0-2FA5-8BE1A29D98E4}"/>
          </ac:graphicFrameMkLst>
        </pc:graphicFrameChg>
        <pc:graphicFrameChg chg="add del mod">
          <ac:chgData name="Dmitriy Shumekov" userId="ffbf198107bbd5ce" providerId="LiveId" clId="{4D67C7A2-FE00-4525-AF5E-9335BFF471AC}" dt="2025-02-05T13:25:34.664" v="8309" actId="478"/>
          <ac:graphicFrameMkLst>
            <pc:docMk/>
            <pc:sldMk cId="418434920" sldId="394"/>
            <ac:graphicFrameMk id="6" creationId="{103D3A8B-2B17-9E8C-9A2D-19A8C6F439F2}"/>
          </ac:graphicFrameMkLst>
        </pc:graphicFrameChg>
        <pc:graphicFrameChg chg="add mod">
          <ac:chgData name="Dmitriy Shumekov" userId="ffbf198107bbd5ce" providerId="LiveId" clId="{4D67C7A2-FE00-4525-AF5E-9335BFF471AC}" dt="2025-02-06T05:28:24.322" v="8383" actId="571"/>
          <ac:graphicFrameMkLst>
            <pc:docMk/>
            <pc:sldMk cId="418434920" sldId="394"/>
            <ac:graphicFrameMk id="8" creationId="{29BAF1FC-87DD-50E5-7847-0E9CC72887A8}"/>
          </ac:graphicFrameMkLst>
        </pc:graphicFrameChg>
        <pc:graphicFrameChg chg="add mod">
          <ac:chgData name="Dmitriy Shumekov" userId="ffbf198107bbd5ce" providerId="LiveId" clId="{4D67C7A2-FE00-4525-AF5E-9335BFF471AC}" dt="2025-02-06T05:30:07.545" v="8427" actId="571"/>
          <ac:graphicFrameMkLst>
            <pc:docMk/>
            <pc:sldMk cId="418434920" sldId="394"/>
            <ac:graphicFrameMk id="9" creationId="{85925884-373B-4334-BEA6-1C0646EB750E}"/>
          </ac:graphicFrameMkLst>
        </pc:graphicFrameChg>
        <pc:graphicFrameChg chg="add del mod modGraphic">
          <ac:chgData name="Dmitriy Shumekov" userId="ffbf198107bbd5ce" providerId="LiveId" clId="{4D67C7A2-FE00-4525-AF5E-9335BFF471AC}" dt="2025-02-06T05:31:15.691" v="8440" actId="478"/>
          <ac:graphicFrameMkLst>
            <pc:docMk/>
            <pc:sldMk cId="418434920" sldId="394"/>
            <ac:graphicFrameMk id="10" creationId="{F8110651-89C6-FB96-7BA6-66A94590A0DB}"/>
          </ac:graphicFrameMkLst>
        </pc:graphicFrameChg>
        <pc:graphicFrameChg chg="add del mod modGraphic">
          <ac:chgData name="Dmitriy Shumekov" userId="ffbf198107bbd5ce" providerId="LiveId" clId="{4D67C7A2-FE00-4525-AF5E-9335BFF471AC}" dt="2025-02-06T05:33:40.200" v="8481" actId="478"/>
          <ac:graphicFrameMkLst>
            <pc:docMk/>
            <pc:sldMk cId="418434920" sldId="394"/>
            <ac:graphicFrameMk id="11" creationId="{1E986B95-6407-6FDF-92B4-E0E7EDFB69D4}"/>
          </ac:graphicFrameMkLst>
        </pc:graphicFrameChg>
        <pc:graphicFrameChg chg="add del mod">
          <ac:chgData name="Dmitriy Shumekov" userId="ffbf198107bbd5ce" providerId="LiveId" clId="{4D67C7A2-FE00-4525-AF5E-9335BFF471AC}" dt="2025-02-06T05:32:08.771" v="8449" actId="478"/>
          <ac:graphicFrameMkLst>
            <pc:docMk/>
            <pc:sldMk cId="418434920" sldId="394"/>
            <ac:graphicFrameMk id="12" creationId="{1541F973-F083-39D6-6DA8-DE251B8ECEDE}"/>
          </ac:graphicFrameMkLst>
        </pc:graphicFrameChg>
        <pc:graphicFrameChg chg="add del mod">
          <ac:chgData name="Dmitriy Shumekov" userId="ffbf198107bbd5ce" providerId="LiveId" clId="{4D67C7A2-FE00-4525-AF5E-9335BFF471AC}" dt="2025-02-06T05:48:00.786" v="8517" actId="478"/>
          <ac:graphicFrameMkLst>
            <pc:docMk/>
            <pc:sldMk cId="418434920" sldId="394"/>
            <ac:graphicFrameMk id="13" creationId="{69CF4805-8DC4-E844-5266-7DD2B6D7AD41}"/>
          </ac:graphicFrameMkLst>
        </pc:graphicFrameChg>
        <pc:graphicFrameChg chg="add del mod">
          <ac:chgData name="Dmitriy Shumekov" userId="ffbf198107bbd5ce" providerId="LiveId" clId="{4D67C7A2-FE00-4525-AF5E-9335BFF471AC}" dt="2025-02-06T05:48:31.127" v="8522" actId="478"/>
          <ac:graphicFrameMkLst>
            <pc:docMk/>
            <pc:sldMk cId="418434920" sldId="394"/>
            <ac:graphicFrameMk id="14" creationId="{7BF33B21-26B3-6736-31CA-48D0FC5AFAC2}"/>
          </ac:graphicFrameMkLst>
        </pc:graphicFrameChg>
        <pc:graphicFrameChg chg="add mod modGraphic">
          <ac:chgData name="Dmitriy Shumekov" userId="ffbf198107bbd5ce" providerId="LiveId" clId="{4D67C7A2-FE00-4525-AF5E-9335BFF471AC}" dt="2025-02-06T05:55:30.632" v="8654"/>
          <ac:graphicFrameMkLst>
            <pc:docMk/>
            <pc:sldMk cId="418434920" sldId="394"/>
            <ac:graphicFrameMk id="15" creationId="{4D68B52E-4668-B5AC-4FB2-24EAAAE48926}"/>
          </ac:graphicFrameMkLst>
        </pc:graphicFrameChg>
        <pc:graphicFrameChg chg="mod modGraphic">
          <ac:chgData name="Dmitriy Shumekov" userId="ffbf198107bbd5ce" providerId="LiveId" clId="{4D67C7A2-FE00-4525-AF5E-9335BFF471AC}" dt="2025-02-06T05:55:38.441" v="8656"/>
          <ac:graphicFrameMkLst>
            <pc:docMk/>
            <pc:sldMk cId="418434920" sldId="394"/>
            <ac:graphicFrameMk id="19" creationId="{35184E0C-5BEE-F960-28C9-7B24A053F182}"/>
          </ac:graphicFrameMkLst>
        </pc:graphicFrameChg>
        <pc:graphicFrameChg chg="del mod modGraphic">
          <ac:chgData name="Dmitriy Shumekov" userId="ffbf198107bbd5ce" providerId="LiveId" clId="{4D67C7A2-FE00-4525-AF5E-9335BFF471AC}" dt="2025-02-05T13:22:53.203" v="8267" actId="478"/>
          <ac:graphicFrameMkLst>
            <pc:docMk/>
            <pc:sldMk cId="418434920" sldId="394"/>
            <ac:graphicFrameMk id="21" creationId="{00544BB2-3EA4-1216-68A4-75A482E2D826}"/>
          </ac:graphicFrameMkLst>
        </pc:graphicFrameChg>
        <pc:graphicFrameChg chg="del mod modGraphic">
          <ac:chgData name="Dmitriy Shumekov" userId="ffbf198107bbd5ce" providerId="LiveId" clId="{4D67C7A2-FE00-4525-AF5E-9335BFF471AC}" dt="2025-02-05T13:22:53.203" v="8267" actId="478"/>
          <ac:graphicFrameMkLst>
            <pc:docMk/>
            <pc:sldMk cId="418434920" sldId="394"/>
            <ac:graphicFrameMk id="24" creationId="{37E3042F-DE5C-4FE8-4C4F-F86135884E66}"/>
          </ac:graphicFrameMkLst>
        </pc:graphicFrameChg>
      </pc:sldChg>
      <pc:sldChg chg="addSp modSp add mod modNotesTx">
        <pc:chgData name="Dmitriy Shumekov" userId="ffbf198107bbd5ce" providerId="LiveId" clId="{4D67C7A2-FE00-4525-AF5E-9335BFF471AC}" dt="2025-02-06T06:31:44.024" v="8774"/>
        <pc:sldMkLst>
          <pc:docMk/>
          <pc:sldMk cId="182205540" sldId="395"/>
        </pc:sldMkLst>
        <pc:spChg chg="mod">
          <ac:chgData name="Dmitriy Shumekov" userId="ffbf198107bbd5ce" providerId="LiveId" clId="{4D67C7A2-FE00-4525-AF5E-9335BFF471AC}" dt="2025-02-06T05:56:33.911" v="8720" actId="20577"/>
          <ac:spMkLst>
            <pc:docMk/>
            <pc:sldMk cId="182205540" sldId="395"/>
            <ac:spMk id="2" creationId="{FF7F3A48-493B-63C0-CEAE-AA97F74E4900}"/>
          </ac:spMkLst>
        </pc:spChg>
        <pc:spChg chg="mod">
          <ac:chgData name="Dmitriy Shumekov" userId="ffbf198107bbd5ce" providerId="LiveId" clId="{4D67C7A2-FE00-4525-AF5E-9335BFF471AC}" dt="2025-02-06T06:31:44.024" v="8774"/>
          <ac:spMkLst>
            <pc:docMk/>
            <pc:sldMk cId="182205540" sldId="395"/>
            <ac:spMk id="3" creationId="{CB1DC974-F2A6-DF66-640B-9686F398BD3E}"/>
          </ac:spMkLst>
        </pc:spChg>
        <pc:spChg chg="add mod">
          <ac:chgData name="Dmitriy Shumekov" userId="ffbf198107bbd5ce" providerId="LiveId" clId="{4D67C7A2-FE00-4525-AF5E-9335BFF471AC}" dt="2025-02-06T05:57:20.486" v="8741" actId="114"/>
          <ac:spMkLst>
            <pc:docMk/>
            <pc:sldMk cId="182205540" sldId="395"/>
            <ac:spMk id="4" creationId="{5AB8330C-6F26-6125-418C-B8228B731DE2}"/>
          </ac:spMkLst>
        </pc:spChg>
        <pc:graphicFrameChg chg="mod modGraphic">
          <ac:chgData name="Dmitriy Shumekov" userId="ffbf198107bbd5ce" providerId="LiveId" clId="{4D67C7A2-FE00-4525-AF5E-9335BFF471AC}" dt="2025-02-06T06:03:51.473" v="8763" actId="113"/>
          <ac:graphicFrameMkLst>
            <pc:docMk/>
            <pc:sldMk cId="182205540" sldId="395"/>
            <ac:graphicFrameMk id="15" creationId="{A643E0BF-6CDE-F18C-75B4-7793F110549D}"/>
          </ac:graphicFrameMkLst>
        </pc:graphicFrameChg>
        <pc:graphicFrameChg chg="mod modGraphic">
          <ac:chgData name="Dmitriy Shumekov" userId="ffbf198107bbd5ce" providerId="LiveId" clId="{4D67C7A2-FE00-4525-AF5E-9335BFF471AC}" dt="2025-02-06T06:02:32.799" v="8752" actId="113"/>
          <ac:graphicFrameMkLst>
            <pc:docMk/>
            <pc:sldMk cId="182205540" sldId="395"/>
            <ac:graphicFrameMk id="19" creationId="{327A6B04-4910-2319-DF41-42B7D8868CEF}"/>
          </ac:graphicFrameMkLst>
        </pc:graphicFrameChg>
      </pc:sldChg>
      <pc:sldMasterChg chg="modSldLayout">
        <pc:chgData name="Dmitriy Shumekov" userId="ffbf198107bbd5ce" providerId="LiveId" clId="{4D67C7A2-FE00-4525-AF5E-9335BFF471AC}" dt="2025-02-06T06:31:44.024" v="8774"/>
        <pc:sldMasterMkLst>
          <pc:docMk/>
          <pc:sldMasterMk cId="1823869724" sldId="2147483687"/>
        </pc:sldMasterMkLst>
        <pc:sldLayoutChg chg="modSp">
          <pc:chgData name="Dmitriy Shumekov" userId="ffbf198107bbd5ce" providerId="LiveId" clId="{4D67C7A2-FE00-4525-AF5E-9335BFF471AC}" dt="2025-02-06T06:31:44.024" v="8774"/>
          <pc:sldLayoutMkLst>
            <pc:docMk/>
            <pc:sldMasterMk cId="1823869724" sldId="2147483687"/>
            <pc:sldLayoutMk cId="3683977204" sldId="2147483690"/>
          </pc:sldLayoutMkLst>
          <pc:spChg chg="mod">
            <ac:chgData name="Dmitriy Shumekov" userId="ffbf198107bbd5ce" providerId="LiveId" clId="{4D67C7A2-FE00-4525-AF5E-9335BFF471AC}" dt="2025-02-06T06:31:44.024" v="8774"/>
            <ac:spMkLst>
              <pc:docMk/>
              <pc:sldMasterMk cId="1823869724" sldId="2147483687"/>
              <pc:sldLayoutMk cId="3683977204" sldId="2147483690"/>
              <ac:spMk id="18" creationId="{35E13FE2-8363-4B32-997E-7AD8F8C0C9D9}"/>
            </ac:spMkLst>
          </pc:spChg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0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9.xlsx"/><Relationship Id="rId2" Type="http://schemas.microsoft.com/office/2011/relationships/chartColorStyle" Target="colors82.xml"/><Relationship Id="rId1" Type="http://schemas.microsoft.com/office/2011/relationships/chartStyle" Target="style82.xml"/></Relationships>
</file>

<file path=ppt/charts/_rels/chart10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0.xlsx"/><Relationship Id="rId2" Type="http://schemas.microsoft.com/office/2011/relationships/chartColorStyle" Target="colors83.xml"/><Relationship Id="rId1" Type="http://schemas.microsoft.com/office/2011/relationships/chartStyle" Target="style83.xml"/></Relationships>
</file>

<file path=ppt/charts/_rels/chart10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1.xlsx"/><Relationship Id="rId2" Type="http://schemas.microsoft.com/office/2011/relationships/chartColorStyle" Target="colors84.xml"/><Relationship Id="rId1" Type="http://schemas.microsoft.com/office/2011/relationships/chartStyle" Target="style84.xml"/></Relationships>
</file>

<file path=ppt/charts/_rels/chart10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2.xlsx"/></Relationships>
</file>

<file path=ppt/charts/_rels/chart10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3.xlsx"/><Relationship Id="rId2" Type="http://schemas.microsoft.com/office/2011/relationships/chartColorStyle" Target="colors85.xml"/><Relationship Id="rId1" Type="http://schemas.microsoft.com/office/2011/relationships/chartStyle" Target="style85.xml"/></Relationships>
</file>

<file path=ppt/charts/_rels/chart10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4.xlsx"/><Relationship Id="rId2" Type="http://schemas.microsoft.com/office/2011/relationships/chartColorStyle" Target="colors86.xml"/><Relationship Id="rId1" Type="http://schemas.microsoft.com/office/2011/relationships/chartStyle" Target="style86.xml"/></Relationships>
</file>

<file path=ppt/charts/_rels/chart10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5.xlsx"/><Relationship Id="rId2" Type="http://schemas.microsoft.com/office/2011/relationships/chartColorStyle" Target="colors87.xml"/><Relationship Id="rId1" Type="http://schemas.microsoft.com/office/2011/relationships/chartStyle" Target="style87.xml"/></Relationships>
</file>

<file path=ppt/charts/_rels/chart10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6.xlsx"/></Relationships>
</file>

<file path=ppt/charts/_rels/chart10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7.xlsx"/><Relationship Id="rId2" Type="http://schemas.microsoft.com/office/2011/relationships/chartColorStyle" Target="colors88.xml"/><Relationship Id="rId1" Type="http://schemas.microsoft.com/office/2011/relationships/chartStyle" Target="style88.xml"/></Relationships>
</file>

<file path=ppt/charts/_rels/chart10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8.xlsx"/><Relationship Id="rId2" Type="http://schemas.microsoft.com/office/2011/relationships/chartColorStyle" Target="colors89.xml"/><Relationship Id="rId1" Type="http://schemas.microsoft.com/office/2011/relationships/chartStyle" Target="style89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9.xlsx"/><Relationship Id="rId2" Type="http://schemas.microsoft.com/office/2011/relationships/chartColorStyle" Target="colors90.xml"/><Relationship Id="rId1" Type="http://schemas.microsoft.com/office/2011/relationships/chartStyle" Target="style90.xml"/></Relationships>
</file>

<file path=ppt/charts/_rels/chart1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0.xlsx"/></Relationships>
</file>

<file path=ppt/charts/_rels/chart1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1.xlsx"/><Relationship Id="rId2" Type="http://schemas.microsoft.com/office/2011/relationships/chartColorStyle" Target="colors91.xml"/><Relationship Id="rId1" Type="http://schemas.microsoft.com/office/2011/relationships/chartStyle" Target="style91.xml"/></Relationships>
</file>

<file path=ppt/charts/_rels/chart1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2.xlsx"/><Relationship Id="rId2" Type="http://schemas.microsoft.com/office/2011/relationships/chartColorStyle" Target="colors92.xml"/><Relationship Id="rId1" Type="http://schemas.microsoft.com/office/2011/relationships/chartStyle" Target="style92.xml"/></Relationships>
</file>

<file path=ppt/charts/_rels/chart1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3.xlsx"/><Relationship Id="rId2" Type="http://schemas.microsoft.com/office/2011/relationships/chartColorStyle" Target="colors93.xml"/><Relationship Id="rId1" Type="http://schemas.microsoft.com/office/2011/relationships/chartStyle" Target="style93.xml"/></Relationships>
</file>

<file path=ppt/charts/_rels/chart1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4.xlsx"/></Relationships>
</file>

<file path=ppt/charts/_rels/chart1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5.xlsx"/><Relationship Id="rId2" Type="http://schemas.microsoft.com/office/2011/relationships/chartColorStyle" Target="colors94.xml"/><Relationship Id="rId1" Type="http://schemas.microsoft.com/office/2011/relationships/chartStyle" Target="style94.xml"/></Relationships>
</file>

<file path=ppt/charts/_rels/chart1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6.xlsx"/><Relationship Id="rId2" Type="http://schemas.microsoft.com/office/2011/relationships/chartColorStyle" Target="colors95.xml"/><Relationship Id="rId1" Type="http://schemas.microsoft.com/office/2011/relationships/chartStyle" Target="style95.xml"/></Relationships>
</file>

<file path=ppt/charts/_rels/chart1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7.xlsx"/><Relationship Id="rId2" Type="http://schemas.microsoft.com/office/2011/relationships/chartColorStyle" Target="colors96.xml"/><Relationship Id="rId1" Type="http://schemas.microsoft.com/office/2011/relationships/chartStyle" Target="style96.xml"/></Relationships>
</file>

<file path=ppt/charts/_rels/chart1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8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9.xlsx"/><Relationship Id="rId2" Type="http://schemas.microsoft.com/office/2011/relationships/chartColorStyle" Target="colors97.xml"/><Relationship Id="rId1" Type="http://schemas.microsoft.com/office/2011/relationships/chartStyle" Target="style97.xml"/></Relationships>
</file>

<file path=ppt/charts/_rels/chart1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0.xlsx"/><Relationship Id="rId2" Type="http://schemas.microsoft.com/office/2011/relationships/chartColorStyle" Target="colors98.xml"/><Relationship Id="rId1" Type="http://schemas.microsoft.com/office/2011/relationships/chartStyle" Target="style98.xml"/></Relationships>
</file>

<file path=ppt/charts/_rels/chart1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1.xlsx"/><Relationship Id="rId2" Type="http://schemas.microsoft.com/office/2011/relationships/chartColorStyle" Target="colors99.xml"/><Relationship Id="rId1" Type="http://schemas.microsoft.com/office/2011/relationships/chartStyle" Target="style99.xml"/></Relationships>
</file>

<file path=ppt/charts/_rels/chart1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2.xlsx"/></Relationships>
</file>

<file path=ppt/charts/_rels/chart1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3.xlsx"/><Relationship Id="rId2" Type="http://schemas.microsoft.com/office/2011/relationships/chartColorStyle" Target="colors100.xml"/><Relationship Id="rId1" Type="http://schemas.microsoft.com/office/2011/relationships/chartStyle" Target="style100.xml"/></Relationships>
</file>

<file path=ppt/charts/_rels/chart1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4.xlsx"/><Relationship Id="rId2" Type="http://schemas.microsoft.com/office/2011/relationships/chartColorStyle" Target="colors101.xml"/><Relationship Id="rId1" Type="http://schemas.microsoft.com/office/2011/relationships/chartStyle" Target="style101.xml"/></Relationships>
</file>

<file path=ppt/charts/_rels/chart1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5.xlsx"/><Relationship Id="rId2" Type="http://schemas.microsoft.com/office/2011/relationships/chartColorStyle" Target="colors102.xml"/><Relationship Id="rId1" Type="http://schemas.microsoft.com/office/2011/relationships/chartStyle" Target="style102.xml"/></Relationships>
</file>

<file path=ppt/charts/_rels/chart1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6.xlsx"/></Relationships>
</file>

<file path=ppt/charts/_rels/chart1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7.xlsx"/><Relationship Id="rId2" Type="http://schemas.microsoft.com/office/2011/relationships/chartColorStyle" Target="colors103.xml"/><Relationship Id="rId1" Type="http://schemas.microsoft.com/office/2011/relationships/chartStyle" Target="style103.xml"/></Relationships>
</file>

<file path=ppt/charts/_rels/chart1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8.xlsx"/><Relationship Id="rId2" Type="http://schemas.microsoft.com/office/2011/relationships/chartColorStyle" Target="colors104.xml"/><Relationship Id="rId1" Type="http://schemas.microsoft.com/office/2011/relationships/chartStyle" Target="style104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9.xlsx"/><Relationship Id="rId2" Type="http://schemas.microsoft.com/office/2011/relationships/chartColorStyle" Target="colors105.xml"/><Relationship Id="rId1" Type="http://schemas.microsoft.com/office/2011/relationships/chartStyle" Target="style105.xml"/></Relationships>
</file>

<file path=ppt/charts/_rels/chart1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0.xlsx"/></Relationships>
</file>

<file path=ppt/charts/_rels/chart1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1.xlsx"/><Relationship Id="rId2" Type="http://schemas.microsoft.com/office/2011/relationships/chartColorStyle" Target="colors106.xml"/><Relationship Id="rId1" Type="http://schemas.microsoft.com/office/2011/relationships/chartStyle" Target="style106.xml"/></Relationships>
</file>

<file path=ppt/charts/_rels/chart1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2.xlsx"/><Relationship Id="rId2" Type="http://schemas.microsoft.com/office/2011/relationships/chartColorStyle" Target="colors107.xml"/><Relationship Id="rId1" Type="http://schemas.microsoft.com/office/2011/relationships/chartStyle" Target="style107.xml"/></Relationships>
</file>

<file path=ppt/charts/_rels/chart1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3.xlsx"/><Relationship Id="rId2" Type="http://schemas.microsoft.com/office/2011/relationships/chartColorStyle" Target="colors108.xml"/><Relationship Id="rId1" Type="http://schemas.microsoft.com/office/2011/relationships/chartStyle" Target="style108.xml"/></Relationships>
</file>

<file path=ppt/charts/_rels/chart1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4.xlsx"/></Relationships>
</file>

<file path=ppt/charts/_rels/chart1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5.xlsx"/><Relationship Id="rId2" Type="http://schemas.microsoft.com/office/2011/relationships/chartColorStyle" Target="colors109.xml"/><Relationship Id="rId1" Type="http://schemas.microsoft.com/office/2011/relationships/chartStyle" Target="style109.xml"/></Relationships>
</file>

<file path=ppt/charts/_rels/chart1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6.xlsx"/><Relationship Id="rId2" Type="http://schemas.microsoft.com/office/2011/relationships/chartColorStyle" Target="colors110.xml"/><Relationship Id="rId1" Type="http://schemas.microsoft.com/office/2011/relationships/chartStyle" Target="style110.xml"/></Relationships>
</file>

<file path=ppt/charts/_rels/chart1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7.xlsx"/><Relationship Id="rId2" Type="http://schemas.microsoft.com/office/2011/relationships/chartColorStyle" Target="colors111.xml"/><Relationship Id="rId1" Type="http://schemas.microsoft.com/office/2011/relationships/chartStyle" Target="style111.xml"/></Relationships>
</file>

<file path=ppt/charts/_rels/chart1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8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9.xlsx"/><Relationship Id="rId2" Type="http://schemas.microsoft.com/office/2011/relationships/chartColorStyle" Target="colors112.xml"/><Relationship Id="rId1" Type="http://schemas.microsoft.com/office/2011/relationships/chartStyle" Target="style112.xml"/></Relationships>
</file>

<file path=ppt/charts/_rels/chart1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0.xlsx"/><Relationship Id="rId2" Type="http://schemas.microsoft.com/office/2011/relationships/chartColorStyle" Target="colors113.xml"/><Relationship Id="rId1" Type="http://schemas.microsoft.com/office/2011/relationships/chartStyle" Target="style113.xml"/></Relationships>
</file>

<file path=ppt/charts/_rels/chart1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1.xlsx"/><Relationship Id="rId2" Type="http://schemas.microsoft.com/office/2011/relationships/chartColorStyle" Target="colors114.xml"/><Relationship Id="rId1" Type="http://schemas.microsoft.com/office/2011/relationships/chartStyle" Target="style114.xml"/></Relationships>
</file>

<file path=ppt/charts/_rels/chart1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2.xlsx"/></Relationships>
</file>

<file path=ppt/charts/_rels/chart1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3.xlsx"/><Relationship Id="rId2" Type="http://schemas.microsoft.com/office/2011/relationships/chartColorStyle" Target="colors115.xml"/><Relationship Id="rId1" Type="http://schemas.microsoft.com/office/2011/relationships/chartStyle" Target="style115.xml"/></Relationships>
</file>

<file path=ppt/charts/_rels/chart1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4.xlsx"/><Relationship Id="rId2" Type="http://schemas.microsoft.com/office/2011/relationships/chartColorStyle" Target="colors116.xml"/><Relationship Id="rId1" Type="http://schemas.microsoft.com/office/2011/relationships/chartStyle" Target="style116.xml"/></Relationships>
</file>

<file path=ppt/charts/_rels/chart1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5.xlsx"/><Relationship Id="rId2" Type="http://schemas.microsoft.com/office/2011/relationships/chartColorStyle" Target="colors117.xml"/><Relationship Id="rId1" Type="http://schemas.microsoft.com/office/2011/relationships/chartStyle" Target="style117.xml"/></Relationships>
</file>

<file path=ppt/charts/_rels/chart1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6.xlsx"/></Relationships>
</file>

<file path=ppt/charts/_rels/chart1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7.xlsx"/><Relationship Id="rId2" Type="http://schemas.microsoft.com/office/2011/relationships/chartColorStyle" Target="colors118.xml"/><Relationship Id="rId1" Type="http://schemas.microsoft.com/office/2011/relationships/chartStyle" Target="style118.xml"/></Relationships>
</file>

<file path=ppt/charts/_rels/chart1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8.xlsx"/><Relationship Id="rId2" Type="http://schemas.microsoft.com/office/2011/relationships/chartColorStyle" Target="colors119.xml"/><Relationship Id="rId1" Type="http://schemas.microsoft.com/office/2011/relationships/chartStyle" Target="style119.xm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9.xlsx"/><Relationship Id="rId2" Type="http://schemas.microsoft.com/office/2011/relationships/chartColorStyle" Target="colors120.xml"/><Relationship Id="rId1" Type="http://schemas.microsoft.com/office/2011/relationships/chartStyle" Target="style120.xml"/></Relationships>
</file>

<file path=ppt/charts/_rels/chart1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0.xlsx"/></Relationships>
</file>

<file path=ppt/charts/_rels/chart1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1.xlsx"/><Relationship Id="rId2" Type="http://schemas.microsoft.com/office/2011/relationships/chartColorStyle" Target="colors121.xml"/><Relationship Id="rId1" Type="http://schemas.microsoft.com/office/2011/relationships/chartStyle" Target="style121.xml"/></Relationships>
</file>

<file path=ppt/charts/_rels/chart1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2.xlsx"/><Relationship Id="rId2" Type="http://schemas.microsoft.com/office/2011/relationships/chartColorStyle" Target="colors122.xml"/><Relationship Id="rId1" Type="http://schemas.microsoft.com/office/2011/relationships/chartStyle" Target="style122.xml"/></Relationships>
</file>

<file path=ppt/charts/_rels/chart1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3.xlsx"/><Relationship Id="rId2" Type="http://schemas.microsoft.com/office/2011/relationships/chartColorStyle" Target="colors123.xml"/><Relationship Id="rId1" Type="http://schemas.microsoft.com/office/2011/relationships/chartStyle" Target="style123.xml"/></Relationships>
</file>

<file path=ppt/charts/_rels/chart15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4.xlsx"/></Relationships>
</file>

<file path=ppt/charts/_rels/chart1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5.xlsx"/><Relationship Id="rId2" Type="http://schemas.microsoft.com/office/2011/relationships/chartColorStyle" Target="colors124.xml"/><Relationship Id="rId1" Type="http://schemas.microsoft.com/office/2011/relationships/chartStyle" Target="style124.xml"/></Relationships>
</file>

<file path=ppt/charts/_rels/chart1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6.xlsx"/><Relationship Id="rId2" Type="http://schemas.microsoft.com/office/2011/relationships/chartColorStyle" Target="colors125.xml"/><Relationship Id="rId1" Type="http://schemas.microsoft.com/office/2011/relationships/chartStyle" Target="style125.xml"/></Relationships>
</file>

<file path=ppt/charts/_rels/chart1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7.xlsx"/><Relationship Id="rId2" Type="http://schemas.microsoft.com/office/2011/relationships/chartColorStyle" Target="colors126.xml"/><Relationship Id="rId1" Type="http://schemas.microsoft.com/office/2011/relationships/chartStyle" Target="style126.xml"/></Relationships>
</file>

<file path=ppt/charts/_rels/chart1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8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9.xlsx"/><Relationship Id="rId2" Type="http://schemas.microsoft.com/office/2011/relationships/chartColorStyle" Target="colors127.xml"/><Relationship Id="rId1" Type="http://schemas.microsoft.com/office/2011/relationships/chartStyle" Target="style127.xml"/></Relationships>
</file>

<file path=ppt/charts/_rels/chart1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0.xlsx"/><Relationship Id="rId2" Type="http://schemas.microsoft.com/office/2011/relationships/chartColorStyle" Target="colors128.xml"/><Relationship Id="rId1" Type="http://schemas.microsoft.com/office/2011/relationships/chartStyle" Target="style128.xml"/></Relationships>
</file>

<file path=ppt/charts/_rels/chart1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1.xlsx"/><Relationship Id="rId2" Type="http://schemas.microsoft.com/office/2011/relationships/chartColorStyle" Target="colors129.xml"/><Relationship Id="rId1" Type="http://schemas.microsoft.com/office/2011/relationships/chartStyle" Target="style129.xml"/></Relationships>
</file>

<file path=ppt/charts/_rels/chart16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2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6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7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8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9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0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1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3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4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5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6.xlsx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7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8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9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5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0.xlsx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1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2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3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4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5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6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7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8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6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9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6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0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6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1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6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2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6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3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6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4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6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5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6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6.xlsx"/></Relationships>
</file>

<file path=ppt/charts/_rels/chart6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7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6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8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7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9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7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0.xlsx"/><Relationship Id="rId2" Type="http://schemas.microsoft.com/office/2011/relationships/chartColorStyle" Target="colors60.xml"/><Relationship Id="rId1" Type="http://schemas.microsoft.com/office/2011/relationships/chartStyle" Target="style60.xml"/></Relationships>
</file>

<file path=ppt/charts/_rels/chart7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1.xlsx"/><Relationship Id="rId2" Type="http://schemas.microsoft.com/office/2011/relationships/chartColorStyle" Target="colors61.xml"/><Relationship Id="rId1" Type="http://schemas.microsoft.com/office/2011/relationships/chartStyle" Target="style61.xml"/></Relationships>
</file>

<file path=ppt/charts/_rels/chart7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2.xlsx"/><Relationship Id="rId2" Type="http://schemas.microsoft.com/office/2011/relationships/chartColorStyle" Target="colors62.xml"/><Relationship Id="rId1" Type="http://schemas.microsoft.com/office/2011/relationships/chartStyle" Target="style62.xml"/></Relationships>
</file>

<file path=ppt/charts/_rels/chart7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3.xlsx"/><Relationship Id="rId2" Type="http://schemas.microsoft.com/office/2011/relationships/chartColorStyle" Target="colors63.xml"/><Relationship Id="rId1" Type="http://schemas.microsoft.com/office/2011/relationships/chartStyle" Target="style63.xml"/></Relationships>
</file>

<file path=ppt/charts/_rels/chart7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4.xlsx"/></Relationships>
</file>

<file path=ppt/charts/_rels/chart7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5.xlsx"/><Relationship Id="rId2" Type="http://schemas.microsoft.com/office/2011/relationships/chartColorStyle" Target="colors64.xml"/><Relationship Id="rId1" Type="http://schemas.microsoft.com/office/2011/relationships/chartStyle" Target="style64.xml"/></Relationships>
</file>

<file path=ppt/charts/_rels/chart7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6.xlsx"/><Relationship Id="rId2" Type="http://schemas.microsoft.com/office/2011/relationships/chartColorStyle" Target="colors65.xml"/><Relationship Id="rId1" Type="http://schemas.microsoft.com/office/2011/relationships/chartStyle" Target="style65.xml"/></Relationships>
</file>

<file path=ppt/charts/_rels/chart7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7.xlsx"/><Relationship Id="rId2" Type="http://schemas.microsoft.com/office/2011/relationships/chartColorStyle" Target="colors66.xml"/><Relationship Id="rId1" Type="http://schemas.microsoft.com/office/2011/relationships/chartStyle" Target="style66.xml"/></Relationships>
</file>

<file path=ppt/charts/_rels/chart7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8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8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9.xlsx"/><Relationship Id="rId2" Type="http://schemas.microsoft.com/office/2011/relationships/chartColorStyle" Target="colors67.xml"/><Relationship Id="rId1" Type="http://schemas.microsoft.com/office/2011/relationships/chartStyle" Target="style67.xml"/></Relationships>
</file>

<file path=ppt/charts/_rels/chart8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0.xlsx"/><Relationship Id="rId2" Type="http://schemas.microsoft.com/office/2011/relationships/chartColorStyle" Target="colors68.xml"/><Relationship Id="rId1" Type="http://schemas.microsoft.com/office/2011/relationships/chartStyle" Target="style68.xml"/></Relationships>
</file>

<file path=ppt/charts/_rels/chart8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1.xlsx"/><Relationship Id="rId2" Type="http://schemas.microsoft.com/office/2011/relationships/chartColorStyle" Target="colors69.xml"/><Relationship Id="rId1" Type="http://schemas.microsoft.com/office/2011/relationships/chartStyle" Target="style69.xml"/></Relationships>
</file>

<file path=ppt/charts/_rels/chart8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2.xlsx"/></Relationships>
</file>

<file path=ppt/charts/_rels/chart8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3.xlsx"/><Relationship Id="rId2" Type="http://schemas.microsoft.com/office/2011/relationships/chartColorStyle" Target="colors70.xml"/><Relationship Id="rId1" Type="http://schemas.microsoft.com/office/2011/relationships/chartStyle" Target="style70.xml"/></Relationships>
</file>

<file path=ppt/charts/_rels/chart8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4.xlsx"/><Relationship Id="rId2" Type="http://schemas.microsoft.com/office/2011/relationships/chartColorStyle" Target="colors71.xml"/><Relationship Id="rId1" Type="http://schemas.microsoft.com/office/2011/relationships/chartStyle" Target="style71.xml"/></Relationships>
</file>

<file path=ppt/charts/_rels/chart8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5.xlsx"/><Relationship Id="rId2" Type="http://schemas.microsoft.com/office/2011/relationships/chartColorStyle" Target="colors72.xml"/><Relationship Id="rId1" Type="http://schemas.microsoft.com/office/2011/relationships/chartStyle" Target="style72.xml"/></Relationships>
</file>

<file path=ppt/charts/_rels/chart8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6.xlsx"/></Relationships>
</file>

<file path=ppt/charts/_rels/chart8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7.xlsx"/><Relationship Id="rId2" Type="http://schemas.microsoft.com/office/2011/relationships/chartColorStyle" Target="colors73.xml"/><Relationship Id="rId1" Type="http://schemas.microsoft.com/office/2011/relationships/chartStyle" Target="style73.xml"/></Relationships>
</file>

<file path=ppt/charts/_rels/chart8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8.xlsx"/><Relationship Id="rId2" Type="http://schemas.microsoft.com/office/2011/relationships/chartColorStyle" Target="colors74.xml"/><Relationship Id="rId1" Type="http://schemas.microsoft.com/office/2011/relationships/chartStyle" Target="style74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9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9.xlsx"/><Relationship Id="rId2" Type="http://schemas.microsoft.com/office/2011/relationships/chartColorStyle" Target="colors75.xml"/><Relationship Id="rId1" Type="http://schemas.microsoft.com/office/2011/relationships/chartStyle" Target="style75.xml"/></Relationships>
</file>

<file path=ppt/charts/_rels/chart9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0.xlsx"/></Relationships>
</file>

<file path=ppt/charts/_rels/chart9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1.xlsx"/><Relationship Id="rId2" Type="http://schemas.microsoft.com/office/2011/relationships/chartColorStyle" Target="colors76.xml"/><Relationship Id="rId1" Type="http://schemas.microsoft.com/office/2011/relationships/chartStyle" Target="style76.xml"/></Relationships>
</file>

<file path=ppt/charts/_rels/chart9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2.xlsx"/><Relationship Id="rId2" Type="http://schemas.microsoft.com/office/2011/relationships/chartColorStyle" Target="colors77.xml"/><Relationship Id="rId1" Type="http://schemas.microsoft.com/office/2011/relationships/chartStyle" Target="style77.xml"/></Relationships>
</file>

<file path=ppt/charts/_rels/chart9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3.xlsx"/><Relationship Id="rId2" Type="http://schemas.microsoft.com/office/2011/relationships/chartColorStyle" Target="colors78.xml"/><Relationship Id="rId1" Type="http://schemas.microsoft.com/office/2011/relationships/chartStyle" Target="style78.xml"/></Relationships>
</file>

<file path=ppt/charts/_rels/chart9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4.xlsx"/></Relationships>
</file>

<file path=ppt/charts/_rels/chart9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5.xlsx"/><Relationship Id="rId2" Type="http://schemas.microsoft.com/office/2011/relationships/chartColorStyle" Target="colors79.xml"/><Relationship Id="rId1" Type="http://schemas.microsoft.com/office/2011/relationships/chartStyle" Target="style79.xml"/></Relationships>
</file>

<file path=ppt/charts/_rels/chart9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6.xlsx"/><Relationship Id="rId2" Type="http://schemas.microsoft.com/office/2011/relationships/chartColorStyle" Target="colors80.xml"/><Relationship Id="rId1" Type="http://schemas.microsoft.com/office/2011/relationships/chartStyle" Target="style80.xml"/></Relationships>
</file>

<file path=ppt/charts/_rels/chart9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7.xlsx"/><Relationship Id="rId2" Type="http://schemas.microsoft.com/office/2011/relationships/chartColorStyle" Target="colors81.xml"/><Relationship Id="rId1" Type="http://schemas.microsoft.com/office/2011/relationships/chartStyle" Target="style81.xml"/></Relationships>
</file>

<file path=ppt/charts/_rels/chart9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.1281888515165843"/>
          <c:w val="0.87411313768396004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абоч</c:v>
                </c:pt>
              </c:strCache>
            </c:strRef>
          </c:tx>
          <c:spPr>
            <a:solidFill>
              <a:srgbClr val="2868A3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B3-4CAB-9C1B-48D8DE7E69D9}"/>
              </c:ext>
            </c:extLst>
          </c:dPt>
          <c:dPt>
            <c:idx val="1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B3-4CAB-9C1B-48D8DE7E69D9}"/>
              </c:ext>
            </c:extLst>
          </c:dPt>
          <c:dPt>
            <c:idx val="2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6B3-4CAB-9C1B-48D8DE7E69D9}"/>
              </c:ext>
            </c:extLst>
          </c:dPt>
          <c:dPt>
            <c:idx val="3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6B3-4CAB-9C1B-48D8DE7E69D9}"/>
              </c:ext>
            </c:extLst>
          </c:dPt>
          <c:dPt>
            <c:idx val="4"/>
            <c:invertIfNegative val="0"/>
            <c:bubble3D val="0"/>
            <c:spPr>
              <a:solidFill>
                <a:srgbClr val="2868A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6B3-4CAB-9C1B-48D8DE7E69D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2868A3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7.667999999999999</c:v>
                </c:pt>
                <c:pt idx="1">
                  <c:v>69.552000000000007</c:v>
                </c:pt>
                <c:pt idx="2">
                  <c:v>71.477999999999994</c:v>
                </c:pt>
                <c:pt idx="3">
                  <c:v>78.459999999999994</c:v>
                </c:pt>
                <c:pt idx="4">
                  <c:v>55.494999999999997</c:v>
                </c:pt>
                <c:pt idx="5">
                  <c:v>63.186</c:v>
                </c:pt>
                <c:pt idx="6">
                  <c:v>76.799000000000007</c:v>
                </c:pt>
                <c:pt idx="7">
                  <c:v>73.861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6B3-4CAB-9C1B-48D8DE7E69D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вал</c:v>
                </c:pt>
              </c:strCache>
            </c:strRef>
          </c:tx>
          <c:spPr>
            <a:solidFill>
              <a:srgbClr val="1E4E7A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C$2:$C$9</c:f>
              <c:numCache>
                <c:formatCode>General</c:formatCode>
                <c:ptCount val="8"/>
                <c:pt idx="0">
                  <c:v>159.26</c:v>
                </c:pt>
                <c:pt idx="1">
                  <c:v>171.57900000000001</c:v>
                </c:pt>
                <c:pt idx="2">
                  <c:v>234.26300000000001</c:v>
                </c:pt>
                <c:pt idx="3">
                  <c:v>204.196</c:v>
                </c:pt>
                <c:pt idx="4">
                  <c:v>169.74100000000001</c:v>
                </c:pt>
                <c:pt idx="5">
                  <c:v>164.24700000000001</c:v>
                </c:pt>
                <c:pt idx="6">
                  <c:v>243.262</c:v>
                </c:pt>
                <c:pt idx="7">
                  <c:v>191.912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6B3-4CAB-9C1B-48D8DE7E69D9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сего</c:v>
                </c:pt>
              </c:strCache>
            </c:strRef>
          </c:tx>
          <c:spPr>
            <a:solidFill>
              <a:srgbClr val="93CDDD"/>
            </a:solidFill>
            <a:ln>
              <a:noFill/>
            </a:ln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A112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D$2:$D$9</c:f>
              <c:numCache>
                <c:formatCode>General</c:formatCode>
                <c:ptCount val="8"/>
                <c:pt idx="0">
                  <c:v>205.72200000000001</c:v>
                </c:pt>
                <c:pt idx="1">
                  <c:v>236.40899999999999</c:v>
                </c:pt>
                <c:pt idx="2">
                  <c:v>308.16300000000001</c:v>
                </c:pt>
                <c:pt idx="3">
                  <c:v>306.25700000000001</c:v>
                </c:pt>
                <c:pt idx="4">
                  <c:v>214.489</c:v>
                </c:pt>
                <c:pt idx="5">
                  <c:v>231.232</c:v>
                </c:pt>
                <c:pt idx="6">
                  <c:v>331.58699999999999</c:v>
                </c:pt>
                <c:pt idx="7">
                  <c:v>291.4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B3-4CAB-9C1B-48D8DE7E69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r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layout>
            <c:manualLayout>
              <c:xMode val="edge"/>
              <c:yMode val="edge"/>
              <c:x val="0.93898904643871606"/>
              <c:y val="0.353165449129558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max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7631492762166765</c:v>
                </c:pt>
                <c:pt idx="1">
                  <c:v>0.72368507237833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00-4EF9-B1BC-102C0FEFE95A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00-4EF9-B1BC-102C0FEFE95A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00-4EF9-B1BC-102C0FEFE95A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00-4EF9-B1BC-102C0FEFE95A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3869999999999996</c:v>
                </c:pt>
                <c:pt idx="1">
                  <c:v>7.3380000000000001</c:v>
                </c:pt>
                <c:pt idx="2">
                  <c:v>8.0850000000000009</c:v>
                </c:pt>
                <c:pt idx="3">
                  <c:v>8.6470000000000002</c:v>
                </c:pt>
                <c:pt idx="4">
                  <c:v>6.4889999999999999</c:v>
                </c:pt>
                <c:pt idx="5">
                  <c:v>5.68</c:v>
                </c:pt>
                <c:pt idx="6">
                  <c:v>8.0549999999999997</c:v>
                </c:pt>
                <c:pt idx="7">
                  <c:v>7.596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Алматинская</c:v>
                </c:pt>
                <c:pt idx="1">
                  <c:v>Жетысу</c:v>
                </c:pt>
                <c:pt idx="2">
                  <c:v>Кызылординская</c:v>
                </c:pt>
                <c:pt idx="3">
                  <c:v>Туркестанская</c:v>
                </c:pt>
                <c:pt idx="4">
                  <c:v>Улытау</c:v>
                </c:pt>
                <c:pt idx="5">
                  <c:v>Атырауская</c:v>
                </c:pt>
                <c:pt idx="6">
                  <c:v>Актюбинская</c:v>
                </c:pt>
                <c:pt idx="7">
                  <c:v>Мангистауская</c:v>
                </c:pt>
                <c:pt idx="8">
                  <c:v>г. Алматы</c:v>
                </c:pt>
                <c:pt idx="9">
                  <c:v>Жамбылская</c:v>
                </c:pt>
                <c:pt idx="10">
                  <c:v>г. Шымкент</c:v>
                </c:pt>
                <c:pt idx="11">
                  <c:v>Абай</c:v>
                </c:pt>
                <c:pt idx="12">
                  <c:v>г. Астана</c:v>
                </c:pt>
                <c:pt idx="13">
                  <c:v>Западно-Казахстанская</c:v>
                </c:pt>
                <c:pt idx="14">
                  <c:v>Акмолинская</c:v>
                </c:pt>
                <c:pt idx="15">
                  <c:v>Восточно-Казахстанская</c:v>
                </c:pt>
                <c:pt idx="16">
                  <c:v>Северо-Казахстанская</c:v>
                </c:pt>
                <c:pt idx="17">
                  <c:v>Костанайская</c:v>
                </c:pt>
                <c:pt idx="18">
                  <c:v>Карагандинская</c:v>
                </c:pt>
                <c:pt idx="19">
                  <c:v>Павлодар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6</c:v>
                </c:pt>
                <c:pt idx="1">
                  <c:v>173</c:v>
                </c:pt>
                <c:pt idx="2">
                  <c:v>383</c:v>
                </c:pt>
                <c:pt idx="3">
                  <c:v>415</c:v>
                </c:pt>
                <c:pt idx="4">
                  <c:v>415</c:v>
                </c:pt>
                <c:pt idx="5">
                  <c:v>598</c:v>
                </c:pt>
                <c:pt idx="6">
                  <c:v>603</c:v>
                </c:pt>
                <c:pt idx="7">
                  <c:v>664</c:v>
                </c:pt>
                <c:pt idx="8">
                  <c:v>713</c:v>
                </c:pt>
                <c:pt idx="9">
                  <c:v>819</c:v>
                </c:pt>
                <c:pt idx="10">
                  <c:v>949</c:v>
                </c:pt>
                <c:pt idx="11">
                  <c:v>1602</c:v>
                </c:pt>
                <c:pt idx="12">
                  <c:v>1636</c:v>
                </c:pt>
                <c:pt idx="13">
                  <c:v>1722</c:v>
                </c:pt>
                <c:pt idx="14">
                  <c:v>2282</c:v>
                </c:pt>
                <c:pt idx="15">
                  <c:v>2504</c:v>
                </c:pt>
                <c:pt idx="16">
                  <c:v>2548</c:v>
                </c:pt>
                <c:pt idx="17">
                  <c:v>2665</c:v>
                </c:pt>
                <c:pt idx="18">
                  <c:v>3204</c:v>
                </c:pt>
                <c:pt idx="19">
                  <c:v>38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72778576563623287</c:v>
                </c:pt>
                <c:pt idx="1">
                  <c:v>0.272214234363767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800</c:v>
                </c:pt>
                <c:pt idx="1">
                  <c:v>5549</c:v>
                </c:pt>
                <c:pt idx="2">
                  <c:v>15354</c:v>
                </c:pt>
                <c:pt idx="3">
                  <c:v>1</c:v>
                </c:pt>
                <c:pt idx="4">
                  <c:v>110</c:v>
                </c:pt>
                <c:pt idx="5">
                  <c:v>277</c:v>
                </c:pt>
                <c:pt idx="6">
                  <c:v>884</c:v>
                </c:pt>
                <c:pt idx="7">
                  <c:v>2715</c:v>
                </c:pt>
                <c:pt idx="8">
                  <c:v>1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0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800-4EF9-B1BC-102C0FEFE95A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800-4EF9-B1BC-102C0FEFE95A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800-4EF9-B1BC-102C0FEFE95A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800-4EF9-B1BC-102C0FEFE95A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3.4329999999999998</c:v>
                </c:pt>
                <c:pt idx="1">
                  <c:v>3.9590000000000001</c:v>
                </c:pt>
                <c:pt idx="2">
                  <c:v>4.5839999999999996</c:v>
                </c:pt>
                <c:pt idx="3">
                  <c:v>5.3559999999999999</c:v>
                </c:pt>
                <c:pt idx="4">
                  <c:v>3.7639999999999998</c:v>
                </c:pt>
                <c:pt idx="5">
                  <c:v>3.4409999999999998</c:v>
                </c:pt>
                <c:pt idx="6">
                  <c:v>4.2439999999999998</c:v>
                </c:pt>
                <c:pt idx="7">
                  <c:v>4.77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Жетысу</c:v>
                </c:pt>
                <c:pt idx="2">
                  <c:v>Алматинская</c:v>
                </c:pt>
                <c:pt idx="3">
                  <c:v>Атырауская</c:v>
                </c:pt>
                <c:pt idx="4">
                  <c:v>г. Шымкент</c:v>
                </c:pt>
                <c:pt idx="5">
                  <c:v>Северо-Казахстанская</c:v>
                </c:pt>
                <c:pt idx="6">
                  <c:v>г. Алматы</c:v>
                </c:pt>
                <c:pt idx="7">
                  <c:v>Абай</c:v>
                </c:pt>
                <c:pt idx="8">
                  <c:v>Мангистауская</c:v>
                </c:pt>
                <c:pt idx="9">
                  <c:v>Восточно-Казахстанская</c:v>
                </c:pt>
                <c:pt idx="10">
                  <c:v>Туркестанская</c:v>
                </c:pt>
                <c:pt idx="11">
                  <c:v>Актюбинская</c:v>
                </c:pt>
                <c:pt idx="12">
                  <c:v>Жамбылская</c:v>
                </c:pt>
                <c:pt idx="13">
                  <c:v>Кызылординская</c:v>
                </c:pt>
                <c:pt idx="14">
                  <c:v>г. Астана</c:v>
                </c:pt>
                <c:pt idx="15">
                  <c:v>Западно-Казахстанская</c:v>
                </c:pt>
                <c:pt idx="16">
                  <c:v>Павлодарская</c:v>
                </c:pt>
                <c:pt idx="17">
                  <c:v>Карагандинская</c:v>
                </c:pt>
                <c:pt idx="18">
                  <c:v>Акмолинская</c:v>
                </c:pt>
                <c:pt idx="19">
                  <c:v>Костанай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70</c:v>
                </c:pt>
                <c:pt idx="1">
                  <c:v>315</c:v>
                </c:pt>
                <c:pt idx="2">
                  <c:v>335</c:v>
                </c:pt>
                <c:pt idx="3">
                  <c:v>342</c:v>
                </c:pt>
                <c:pt idx="4">
                  <c:v>452</c:v>
                </c:pt>
                <c:pt idx="5">
                  <c:v>455</c:v>
                </c:pt>
                <c:pt idx="6">
                  <c:v>530</c:v>
                </c:pt>
                <c:pt idx="7">
                  <c:v>532</c:v>
                </c:pt>
                <c:pt idx="8">
                  <c:v>640</c:v>
                </c:pt>
                <c:pt idx="9">
                  <c:v>732</c:v>
                </c:pt>
                <c:pt idx="10">
                  <c:v>740</c:v>
                </c:pt>
                <c:pt idx="11">
                  <c:v>773</c:v>
                </c:pt>
                <c:pt idx="12">
                  <c:v>872</c:v>
                </c:pt>
                <c:pt idx="13">
                  <c:v>980</c:v>
                </c:pt>
                <c:pt idx="14">
                  <c:v>1325</c:v>
                </c:pt>
                <c:pt idx="15">
                  <c:v>1339</c:v>
                </c:pt>
                <c:pt idx="16">
                  <c:v>1370</c:v>
                </c:pt>
                <c:pt idx="17">
                  <c:v>1373</c:v>
                </c:pt>
                <c:pt idx="18">
                  <c:v>1439</c:v>
                </c:pt>
                <c:pt idx="19">
                  <c:v>15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51525423728813557</c:v>
                </c:pt>
                <c:pt idx="1">
                  <c:v>0.484745762711864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624</c:v>
                </c:pt>
                <c:pt idx="1">
                  <c:v>3988</c:v>
                </c:pt>
                <c:pt idx="2">
                  <c:v>4922</c:v>
                </c:pt>
                <c:pt idx="3">
                  <c:v>11</c:v>
                </c:pt>
                <c:pt idx="4">
                  <c:v>216</c:v>
                </c:pt>
                <c:pt idx="5">
                  <c:v>232</c:v>
                </c:pt>
                <c:pt idx="6">
                  <c:v>828</c:v>
                </c:pt>
                <c:pt idx="7">
                  <c:v>980</c:v>
                </c:pt>
                <c:pt idx="8">
                  <c:v>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0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588-402B-B72B-6FDEC49B378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88-402B-B72B-6FDEC49B378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88-402B-B72B-6FDEC49B378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88-402B-B72B-6FDEC49B378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5.787000000000001</c:v>
                </c:pt>
                <c:pt idx="1">
                  <c:v>25.747</c:v>
                </c:pt>
                <c:pt idx="2">
                  <c:v>21.472000000000001</c:v>
                </c:pt>
                <c:pt idx="3">
                  <c:v>17.061</c:v>
                </c:pt>
                <c:pt idx="4">
                  <c:v>10.510999999999999</c:v>
                </c:pt>
                <c:pt idx="5">
                  <c:v>21.616</c:v>
                </c:pt>
                <c:pt idx="6">
                  <c:v>20.367000000000001</c:v>
                </c:pt>
                <c:pt idx="7">
                  <c:v>13.89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0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Абай</c:v>
                </c:pt>
                <c:pt idx="2">
                  <c:v>Жетысу</c:v>
                </c:pt>
                <c:pt idx="3">
                  <c:v>Акмолинская</c:v>
                </c:pt>
                <c:pt idx="4">
                  <c:v>Северо-Казахстанская</c:v>
                </c:pt>
                <c:pt idx="5">
                  <c:v>Мангистауская</c:v>
                </c:pt>
                <c:pt idx="6">
                  <c:v>Жамбылская</c:v>
                </c:pt>
                <c:pt idx="7">
                  <c:v>Алматинская</c:v>
                </c:pt>
                <c:pt idx="8">
                  <c:v>г. Шымкент</c:v>
                </c:pt>
                <c:pt idx="9">
                  <c:v>Кызылординская</c:v>
                </c:pt>
                <c:pt idx="10">
                  <c:v>Актюбинская</c:v>
                </c:pt>
                <c:pt idx="11">
                  <c:v>Туркестанская</c:v>
                </c:pt>
                <c:pt idx="12">
                  <c:v>Павлодарская</c:v>
                </c:pt>
                <c:pt idx="13">
                  <c:v>Карагандинская</c:v>
                </c:pt>
                <c:pt idx="14">
                  <c:v>Костанайская</c:v>
                </c:pt>
                <c:pt idx="15">
                  <c:v>Западно-Казахстанская</c:v>
                </c:pt>
                <c:pt idx="16">
                  <c:v>г. Алматы</c:v>
                </c:pt>
                <c:pt idx="17">
                  <c:v>г. Астана</c:v>
                </c:pt>
                <c:pt idx="18">
                  <c:v>Восточно-Казахстанская</c:v>
                </c:pt>
                <c:pt idx="19">
                  <c:v>Атырау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661</c:v>
                </c:pt>
                <c:pt idx="1">
                  <c:v>740</c:v>
                </c:pt>
                <c:pt idx="2">
                  <c:v>848</c:v>
                </c:pt>
                <c:pt idx="3">
                  <c:v>1214</c:v>
                </c:pt>
                <c:pt idx="4">
                  <c:v>1252</c:v>
                </c:pt>
                <c:pt idx="5">
                  <c:v>1706</c:v>
                </c:pt>
                <c:pt idx="6">
                  <c:v>2352</c:v>
                </c:pt>
                <c:pt idx="7">
                  <c:v>2430</c:v>
                </c:pt>
                <c:pt idx="8">
                  <c:v>2480</c:v>
                </c:pt>
                <c:pt idx="9">
                  <c:v>2848</c:v>
                </c:pt>
                <c:pt idx="10">
                  <c:v>3210</c:v>
                </c:pt>
                <c:pt idx="11">
                  <c:v>3374</c:v>
                </c:pt>
                <c:pt idx="12">
                  <c:v>3486</c:v>
                </c:pt>
                <c:pt idx="13">
                  <c:v>3911</c:v>
                </c:pt>
                <c:pt idx="14">
                  <c:v>3958</c:v>
                </c:pt>
                <c:pt idx="15">
                  <c:v>4384</c:v>
                </c:pt>
                <c:pt idx="16">
                  <c:v>5066</c:v>
                </c:pt>
                <c:pt idx="17">
                  <c:v>7272</c:v>
                </c:pt>
                <c:pt idx="18">
                  <c:v>7462</c:v>
                </c:pt>
                <c:pt idx="19">
                  <c:v>77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147</c:v>
                </c:pt>
                <c:pt idx="1">
                  <c:v>3781</c:v>
                </c:pt>
                <c:pt idx="2">
                  <c:v>3585</c:v>
                </c:pt>
                <c:pt idx="3">
                  <c:v>486</c:v>
                </c:pt>
                <c:pt idx="4">
                  <c:v>1979</c:v>
                </c:pt>
                <c:pt idx="5">
                  <c:v>906</c:v>
                </c:pt>
                <c:pt idx="6">
                  <c:v>2271</c:v>
                </c:pt>
                <c:pt idx="7">
                  <c:v>8197</c:v>
                </c:pt>
                <c:pt idx="8">
                  <c:v>2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45959664422454172</c:v>
                </c:pt>
                <c:pt idx="1">
                  <c:v>0.54040335577545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2999</c:v>
                </c:pt>
                <c:pt idx="1">
                  <c:v>6666</c:v>
                </c:pt>
                <c:pt idx="2">
                  <c:v>21606</c:v>
                </c:pt>
                <c:pt idx="3">
                  <c:v>34</c:v>
                </c:pt>
                <c:pt idx="4">
                  <c:v>875</c:v>
                </c:pt>
                <c:pt idx="5">
                  <c:v>806</c:v>
                </c:pt>
                <c:pt idx="6">
                  <c:v>4245</c:v>
                </c:pt>
                <c:pt idx="7">
                  <c:v>5856</c:v>
                </c:pt>
                <c:pt idx="8">
                  <c:v>33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0DF-4741-B6AB-A24954AEDBE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0DF-4741-B6AB-A24954AEDBE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0DF-4741-B6AB-A24954AEDBE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0DF-4741-B6AB-A24954AEDBE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5.622</c:v>
                </c:pt>
                <c:pt idx="1">
                  <c:v>19.295999999999999</c:v>
                </c:pt>
                <c:pt idx="2">
                  <c:v>20.577000000000002</c:v>
                </c:pt>
                <c:pt idx="3">
                  <c:v>28.423999999999999</c:v>
                </c:pt>
                <c:pt idx="4">
                  <c:v>13.866</c:v>
                </c:pt>
                <c:pt idx="5">
                  <c:v>16.494</c:v>
                </c:pt>
                <c:pt idx="6">
                  <c:v>21.645</c:v>
                </c:pt>
                <c:pt idx="7">
                  <c:v>26.6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Жетысу</c:v>
                </c:pt>
                <c:pt idx="2">
                  <c:v>Абай</c:v>
                </c:pt>
                <c:pt idx="3">
                  <c:v>Мангистауская</c:v>
                </c:pt>
                <c:pt idx="4">
                  <c:v>Акмолинская</c:v>
                </c:pt>
                <c:pt idx="5">
                  <c:v>Павлодарская</c:v>
                </c:pt>
                <c:pt idx="6">
                  <c:v>Восточно-Казахстанская</c:v>
                </c:pt>
                <c:pt idx="7">
                  <c:v>Северо-Казахстанская</c:v>
                </c:pt>
                <c:pt idx="8">
                  <c:v>Западно-Казахстанская</c:v>
                </c:pt>
                <c:pt idx="9">
                  <c:v>Кызылординская</c:v>
                </c:pt>
                <c:pt idx="10">
                  <c:v>Алматинская</c:v>
                </c:pt>
                <c:pt idx="11">
                  <c:v>г. Шымкент</c:v>
                </c:pt>
                <c:pt idx="12">
                  <c:v>Актюбинская</c:v>
                </c:pt>
                <c:pt idx="13">
                  <c:v>Карагандинская</c:v>
                </c:pt>
                <c:pt idx="14">
                  <c:v>Костанайская</c:v>
                </c:pt>
                <c:pt idx="15">
                  <c:v>Атырауская</c:v>
                </c:pt>
                <c:pt idx="16">
                  <c:v>Жамбылская</c:v>
                </c:pt>
                <c:pt idx="17">
                  <c:v>Туркестанская</c:v>
                </c:pt>
                <c:pt idx="18">
                  <c:v>г. Астана</c:v>
                </c:pt>
                <c:pt idx="19">
                  <c:v>г. Алмат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08</c:v>
                </c:pt>
                <c:pt idx="1">
                  <c:v>762</c:v>
                </c:pt>
                <c:pt idx="2">
                  <c:v>1555</c:v>
                </c:pt>
                <c:pt idx="3">
                  <c:v>1561</c:v>
                </c:pt>
                <c:pt idx="4">
                  <c:v>1585</c:v>
                </c:pt>
                <c:pt idx="5">
                  <c:v>2016</c:v>
                </c:pt>
                <c:pt idx="6">
                  <c:v>2309</c:v>
                </c:pt>
                <c:pt idx="7">
                  <c:v>2877</c:v>
                </c:pt>
                <c:pt idx="8">
                  <c:v>3025</c:v>
                </c:pt>
                <c:pt idx="9">
                  <c:v>3042</c:v>
                </c:pt>
                <c:pt idx="10">
                  <c:v>3280</c:v>
                </c:pt>
                <c:pt idx="11">
                  <c:v>3282</c:v>
                </c:pt>
                <c:pt idx="12">
                  <c:v>3678</c:v>
                </c:pt>
                <c:pt idx="13">
                  <c:v>4389</c:v>
                </c:pt>
                <c:pt idx="14">
                  <c:v>4629</c:v>
                </c:pt>
                <c:pt idx="15">
                  <c:v>4924</c:v>
                </c:pt>
                <c:pt idx="16">
                  <c:v>7472</c:v>
                </c:pt>
                <c:pt idx="17">
                  <c:v>7686</c:v>
                </c:pt>
                <c:pt idx="18">
                  <c:v>8783</c:v>
                </c:pt>
                <c:pt idx="19">
                  <c:v>114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9.3549666616402335E-2"/>
                  <c:y val="0.13464145546959166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1754678336534914</c:v>
                </c:pt>
                <c:pt idx="1">
                  <c:v>0.882453216634650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36721</c:v>
                </c:pt>
                <c:pt idx="1">
                  <c:v>5035</c:v>
                </c:pt>
                <c:pt idx="2">
                  <c:v>4488</c:v>
                </c:pt>
                <c:pt idx="3">
                  <c:v>349</c:v>
                </c:pt>
                <c:pt idx="4">
                  <c:v>18501</c:v>
                </c:pt>
                <c:pt idx="5">
                  <c:v>2212</c:v>
                </c:pt>
                <c:pt idx="6">
                  <c:v>5642</c:v>
                </c:pt>
                <c:pt idx="7">
                  <c:v>4728</c:v>
                </c:pt>
                <c:pt idx="8">
                  <c:v>9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A93-46F7-AA0D-17132679EDE8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A93-46F7-AA0D-17132679EDE8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A93-46F7-AA0D-17132679EDE8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A93-46F7-AA0D-17132679EDE8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1349999999999998</c:v>
                </c:pt>
                <c:pt idx="1">
                  <c:v>8.4550000000000001</c:v>
                </c:pt>
                <c:pt idx="2">
                  <c:v>9.9570000000000007</c:v>
                </c:pt>
                <c:pt idx="3">
                  <c:v>9.3580000000000005</c:v>
                </c:pt>
                <c:pt idx="4">
                  <c:v>7.5519999999999996</c:v>
                </c:pt>
                <c:pt idx="5">
                  <c:v>8.1189999999999998</c:v>
                </c:pt>
                <c:pt idx="6">
                  <c:v>9.9670000000000005</c:v>
                </c:pt>
                <c:pt idx="7">
                  <c:v>9.192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Жетысу</c:v>
                </c:pt>
                <c:pt idx="1">
                  <c:v>Улытау</c:v>
                </c:pt>
                <c:pt idx="2">
                  <c:v>Алматинская</c:v>
                </c:pt>
                <c:pt idx="3">
                  <c:v>Западно-Казахстанская</c:v>
                </c:pt>
                <c:pt idx="4">
                  <c:v>Северо-Казахстанская</c:v>
                </c:pt>
                <c:pt idx="5">
                  <c:v>Туркестанская</c:v>
                </c:pt>
                <c:pt idx="6">
                  <c:v>Жамбылская</c:v>
                </c:pt>
                <c:pt idx="7">
                  <c:v>Мангистауская</c:v>
                </c:pt>
                <c:pt idx="8">
                  <c:v>г. Шымкент</c:v>
                </c:pt>
                <c:pt idx="9">
                  <c:v>Абай</c:v>
                </c:pt>
                <c:pt idx="10">
                  <c:v>Атырауская</c:v>
                </c:pt>
                <c:pt idx="11">
                  <c:v>Кызылординская</c:v>
                </c:pt>
                <c:pt idx="12">
                  <c:v>Актюбинская</c:v>
                </c:pt>
                <c:pt idx="13">
                  <c:v>Костанайская</c:v>
                </c:pt>
                <c:pt idx="14">
                  <c:v>Акмолинская</c:v>
                </c:pt>
                <c:pt idx="15">
                  <c:v>Павлодарская</c:v>
                </c:pt>
                <c:pt idx="16">
                  <c:v>Восточно-Казахстанская</c:v>
                </c:pt>
                <c:pt idx="17">
                  <c:v>г. Астана</c:v>
                </c:pt>
                <c:pt idx="18">
                  <c:v>Карагандинская</c:v>
                </c:pt>
                <c:pt idx="19">
                  <c:v>г. Алмат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68</c:v>
                </c:pt>
                <c:pt idx="1">
                  <c:v>489</c:v>
                </c:pt>
                <c:pt idx="2">
                  <c:v>631</c:v>
                </c:pt>
                <c:pt idx="3">
                  <c:v>667</c:v>
                </c:pt>
                <c:pt idx="4">
                  <c:v>733</c:v>
                </c:pt>
                <c:pt idx="5">
                  <c:v>761</c:v>
                </c:pt>
                <c:pt idx="6">
                  <c:v>1007</c:v>
                </c:pt>
                <c:pt idx="7">
                  <c:v>1152</c:v>
                </c:pt>
                <c:pt idx="8">
                  <c:v>1210</c:v>
                </c:pt>
                <c:pt idx="9">
                  <c:v>1364</c:v>
                </c:pt>
                <c:pt idx="10">
                  <c:v>1492</c:v>
                </c:pt>
                <c:pt idx="11">
                  <c:v>1881</c:v>
                </c:pt>
                <c:pt idx="12">
                  <c:v>1920</c:v>
                </c:pt>
                <c:pt idx="13">
                  <c:v>1969</c:v>
                </c:pt>
                <c:pt idx="14">
                  <c:v>2027</c:v>
                </c:pt>
                <c:pt idx="15">
                  <c:v>2617</c:v>
                </c:pt>
                <c:pt idx="16">
                  <c:v>2851</c:v>
                </c:pt>
                <c:pt idx="17">
                  <c:v>3430</c:v>
                </c:pt>
                <c:pt idx="18">
                  <c:v>3545</c:v>
                </c:pt>
                <c:pt idx="19">
                  <c:v>4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54061037581464788</c:v>
                </c:pt>
                <c:pt idx="1">
                  <c:v>0.459389624185352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5256</c:v>
                </c:pt>
                <c:pt idx="1">
                  <c:v>12023</c:v>
                </c:pt>
                <c:pt idx="2">
                  <c:v>5869</c:v>
                </c:pt>
                <c:pt idx="3">
                  <c:v>34</c:v>
                </c:pt>
                <c:pt idx="4">
                  <c:v>2836</c:v>
                </c:pt>
                <c:pt idx="5">
                  <c:v>1328</c:v>
                </c:pt>
                <c:pt idx="6">
                  <c:v>2824</c:v>
                </c:pt>
                <c:pt idx="7">
                  <c:v>3178</c:v>
                </c:pt>
                <c:pt idx="8">
                  <c:v>14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45-4070-A560-0AF14458FD0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45-4070-A560-0AF14458FD0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C45-4070-A560-0AF14458FD0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C45-4070-A560-0AF14458FD0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45-4070-A560-0AF14458FD0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8.0890000000000004</c:v>
                </c:pt>
                <c:pt idx="1">
                  <c:v>11.696999999999999</c:v>
                </c:pt>
                <c:pt idx="2">
                  <c:v>12.861000000000001</c:v>
                </c:pt>
                <c:pt idx="3">
                  <c:v>10.368</c:v>
                </c:pt>
                <c:pt idx="4">
                  <c:v>8.3179999999999996</c:v>
                </c:pt>
                <c:pt idx="5">
                  <c:v>11.289</c:v>
                </c:pt>
                <c:pt idx="6">
                  <c:v>15.709</c:v>
                </c:pt>
                <c:pt idx="7">
                  <c:v>10.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C45-4070-A560-0AF14458FD0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3C-47A3-B4F5-DBF1B1761AC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3C-47A3-B4F5-DBF1B1761AC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83C-47A3-B4F5-DBF1B1761AC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83C-47A3-B4F5-DBF1B1761AC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9159999999999999</c:v>
                </c:pt>
                <c:pt idx="1">
                  <c:v>3.97</c:v>
                </c:pt>
                <c:pt idx="2">
                  <c:v>4.6749999999999998</c:v>
                </c:pt>
                <c:pt idx="3">
                  <c:v>6.1959999999999997</c:v>
                </c:pt>
                <c:pt idx="4">
                  <c:v>3.03</c:v>
                </c:pt>
                <c:pt idx="5">
                  <c:v>3.7709999999999999</c:v>
                </c:pt>
                <c:pt idx="6">
                  <c:v>4.8220000000000001</c:v>
                </c:pt>
                <c:pt idx="7">
                  <c:v>4.533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г. Шымкент</c:v>
                </c:pt>
                <c:pt idx="2">
                  <c:v>Павлодарская</c:v>
                </c:pt>
                <c:pt idx="3">
                  <c:v>Жетысу</c:v>
                </c:pt>
                <c:pt idx="4">
                  <c:v>Абай</c:v>
                </c:pt>
                <c:pt idx="5">
                  <c:v>Мангистауская</c:v>
                </c:pt>
                <c:pt idx="6">
                  <c:v>Костанайская</c:v>
                </c:pt>
                <c:pt idx="7">
                  <c:v>Северо-Казахстанская</c:v>
                </c:pt>
                <c:pt idx="8">
                  <c:v>Кызылординская</c:v>
                </c:pt>
                <c:pt idx="9">
                  <c:v>Западно-Казахстанская</c:v>
                </c:pt>
                <c:pt idx="10">
                  <c:v>Жамбылская</c:v>
                </c:pt>
                <c:pt idx="11">
                  <c:v>Карагандинская</c:v>
                </c:pt>
                <c:pt idx="12">
                  <c:v>Алматинская</c:v>
                </c:pt>
                <c:pt idx="13">
                  <c:v>Актюбинская</c:v>
                </c:pt>
                <c:pt idx="14">
                  <c:v>Туркестанская</c:v>
                </c:pt>
                <c:pt idx="15">
                  <c:v>Акмолинская</c:v>
                </c:pt>
                <c:pt idx="16">
                  <c:v>Восточно-Казахстанская</c:v>
                </c:pt>
                <c:pt idx="17">
                  <c:v>г. Астана</c:v>
                </c:pt>
                <c:pt idx="18">
                  <c:v>Атырауская</c:v>
                </c:pt>
                <c:pt idx="19">
                  <c:v>г. Алмат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75</c:v>
                </c:pt>
                <c:pt idx="1">
                  <c:v>212</c:v>
                </c:pt>
                <c:pt idx="2">
                  <c:v>335</c:v>
                </c:pt>
                <c:pt idx="3">
                  <c:v>373</c:v>
                </c:pt>
                <c:pt idx="4">
                  <c:v>389</c:v>
                </c:pt>
                <c:pt idx="5">
                  <c:v>401</c:v>
                </c:pt>
                <c:pt idx="6">
                  <c:v>423</c:v>
                </c:pt>
                <c:pt idx="7">
                  <c:v>489</c:v>
                </c:pt>
                <c:pt idx="8">
                  <c:v>518</c:v>
                </c:pt>
                <c:pt idx="9">
                  <c:v>561</c:v>
                </c:pt>
                <c:pt idx="10">
                  <c:v>561</c:v>
                </c:pt>
                <c:pt idx="11">
                  <c:v>635</c:v>
                </c:pt>
                <c:pt idx="12">
                  <c:v>684</c:v>
                </c:pt>
                <c:pt idx="13">
                  <c:v>722</c:v>
                </c:pt>
                <c:pt idx="14">
                  <c:v>752</c:v>
                </c:pt>
                <c:pt idx="15">
                  <c:v>859</c:v>
                </c:pt>
                <c:pt idx="16">
                  <c:v>871</c:v>
                </c:pt>
                <c:pt idx="17">
                  <c:v>1347</c:v>
                </c:pt>
                <c:pt idx="18">
                  <c:v>1842</c:v>
                </c:pt>
                <c:pt idx="19">
                  <c:v>4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3.0001245681092605E-2"/>
                  <c:y val="0.10717875272783678"/>
                </c:manualLayout>
              </c:layout>
              <c:numFmt formatCode="0.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.06548245342576E-2</c:v>
                </c:pt>
                <c:pt idx="1">
                  <c:v>0.939345175465742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015</c:v>
                </c:pt>
                <c:pt idx="1">
                  <c:v>266</c:v>
                </c:pt>
                <c:pt idx="2">
                  <c:v>679</c:v>
                </c:pt>
                <c:pt idx="3">
                  <c:v>18</c:v>
                </c:pt>
                <c:pt idx="4">
                  <c:v>4480</c:v>
                </c:pt>
                <c:pt idx="5">
                  <c:v>220</c:v>
                </c:pt>
                <c:pt idx="6">
                  <c:v>967</c:v>
                </c:pt>
                <c:pt idx="7">
                  <c:v>393</c:v>
                </c:pt>
                <c:pt idx="8">
                  <c:v>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210-43AB-BB4D-F0F9096DAB1F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210-43AB-BB4D-F0F9096DAB1F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210-43AB-BB4D-F0F9096DAB1F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210-43AB-BB4D-F0F9096DAB1F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.611</c:v>
                </c:pt>
                <c:pt idx="1">
                  <c:v>2.101</c:v>
                </c:pt>
                <c:pt idx="2">
                  <c:v>2.2749999999999999</c:v>
                </c:pt>
                <c:pt idx="3">
                  <c:v>2.7570000000000001</c:v>
                </c:pt>
                <c:pt idx="4">
                  <c:v>1.548</c:v>
                </c:pt>
                <c:pt idx="5">
                  <c:v>2.0289999999999999</c:v>
                </c:pt>
                <c:pt idx="6">
                  <c:v>3.4689999999999999</c:v>
                </c:pt>
                <c:pt idx="7">
                  <c:v>2.032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Акмолинская</c:v>
                </c:pt>
                <c:pt idx="2">
                  <c:v>Абай</c:v>
                </c:pt>
                <c:pt idx="3">
                  <c:v>Павлодарская</c:v>
                </c:pt>
                <c:pt idx="4">
                  <c:v>Мангистауская</c:v>
                </c:pt>
                <c:pt idx="5">
                  <c:v>Атырауская</c:v>
                </c:pt>
                <c:pt idx="6">
                  <c:v>Северо-Казахстанская</c:v>
                </c:pt>
                <c:pt idx="7">
                  <c:v>Жамбылская</c:v>
                </c:pt>
                <c:pt idx="8">
                  <c:v>г. Шымкент</c:v>
                </c:pt>
                <c:pt idx="9">
                  <c:v>Актюбинская</c:v>
                </c:pt>
                <c:pt idx="10">
                  <c:v>Жетысу</c:v>
                </c:pt>
                <c:pt idx="11">
                  <c:v>Туркестанская</c:v>
                </c:pt>
                <c:pt idx="12">
                  <c:v>Западно-Казахстанская</c:v>
                </c:pt>
                <c:pt idx="13">
                  <c:v>Костанайская</c:v>
                </c:pt>
                <c:pt idx="14">
                  <c:v>Алматинская</c:v>
                </c:pt>
                <c:pt idx="15">
                  <c:v>Кызылординская</c:v>
                </c:pt>
                <c:pt idx="16">
                  <c:v>Восточно-Казахстанская</c:v>
                </c:pt>
                <c:pt idx="17">
                  <c:v>Карагандинская</c:v>
                </c:pt>
                <c:pt idx="18">
                  <c:v>г. Алматы</c:v>
                </c:pt>
                <c:pt idx="19">
                  <c:v>г. Астана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5</c:v>
                </c:pt>
                <c:pt idx="1">
                  <c:v>56</c:v>
                </c:pt>
                <c:pt idx="2">
                  <c:v>61</c:v>
                </c:pt>
                <c:pt idx="3">
                  <c:v>68</c:v>
                </c:pt>
                <c:pt idx="4">
                  <c:v>74</c:v>
                </c:pt>
                <c:pt idx="5">
                  <c:v>97</c:v>
                </c:pt>
                <c:pt idx="6">
                  <c:v>103</c:v>
                </c:pt>
                <c:pt idx="7">
                  <c:v>111</c:v>
                </c:pt>
                <c:pt idx="8">
                  <c:v>120</c:v>
                </c:pt>
                <c:pt idx="9">
                  <c:v>136</c:v>
                </c:pt>
                <c:pt idx="10">
                  <c:v>150</c:v>
                </c:pt>
                <c:pt idx="11">
                  <c:v>156</c:v>
                </c:pt>
                <c:pt idx="12">
                  <c:v>157</c:v>
                </c:pt>
                <c:pt idx="13">
                  <c:v>371</c:v>
                </c:pt>
                <c:pt idx="14">
                  <c:v>398</c:v>
                </c:pt>
                <c:pt idx="15">
                  <c:v>442</c:v>
                </c:pt>
                <c:pt idx="16">
                  <c:v>501</c:v>
                </c:pt>
                <c:pt idx="17">
                  <c:v>635</c:v>
                </c:pt>
                <c:pt idx="18">
                  <c:v>1748</c:v>
                </c:pt>
                <c:pt idx="19">
                  <c:v>36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9.1220898595002847E-2"/>
                  <c:y val="0.14952689163661709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1157616477585637</c:v>
                </c:pt>
                <c:pt idx="1">
                  <c:v>0.888423835224143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89</c:v>
                </c:pt>
                <c:pt idx="1">
                  <c:v>385</c:v>
                </c:pt>
                <c:pt idx="2">
                  <c:v>619</c:v>
                </c:pt>
                <c:pt idx="3">
                  <c:v>2</c:v>
                </c:pt>
                <c:pt idx="4">
                  <c:v>245</c:v>
                </c:pt>
                <c:pt idx="5">
                  <c:v>1005</c:v>
                </c:pt>
                <c:pt idx="6">
                  <c:v>1307</c:v>
                </c:pt>
                <c:pt idx="7">
                  <c:v>4127</c:v>
                </c:pt>
                <c:pt idx="8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73-41D9-AB68-E763929789E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73-41D9-AB68-E763929789E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C73-41D9-AB68-E763929789E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C73-41D9-AB68-E763929789E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.3520000000000001</c:v>
                </c:pt>
                <c:pt idx="1">
                  <c:v>1.6950000000000001</c:v>
                </c:pt>
                <c:pt idx="2">
                  <c:v>2.93</c:v>
                </c:pt>
                <c:pt idx="3">
                  <c:v>1.762</c:v>
                </c:pt>
                <c:pt idx="4">
                  <c:v>1.4890000000000001</c:v>
                </c:pt>
                <c:pt idx="5">
                  <c:v>1.4830000000000001</c:v>
                </c:pt>
                <c:pt idx="6">
                  <c:v>1.468</c:v>
                </c:pt>
                <c:pt idx="7">
                  <c:v>1.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Мангистауская</c:v>
                </c:pt>
                <c:pt idx="1">
                  <c:v>Алматинская</c:v>
                </c:pt>
                <c:pt idx="2">
                  <c:v>Атырауская</c:v>
                </c:pt>
                <c:pt idx="3">
                  <c:v>Улытау</c:v>
                </c:pt>
                <c:pt idx="4">
                  <c:v>Павлодарская</c:v>
                </c:pt>
                <c:pt idx="5">
                  <c:v>Актюбинская</c:v>
                </c:pt>
                <c:pt idx="6">
                  <c:v>Восточно-Казахстанская</c:v>
                </c:pt>
                <c:pt idx="7">
                  <c:v>Акмолинская</c:v>
                </c:pt>
                <c:pt idx="8">
                  <c:v>Абай</c:v>
                </c:pt>
                <c:pt idx="9">
                  <c:v>Западно-Казахстанская</c:v>
                </c:pt>
                <c:pt idx="10">
                  <c:v>Северо-Казахстанская</c:v>
                </c:pt>
                <c:pt idx="11">
                  <c:v>Жетысу</c:v>
                </c:pt>
                <c:pt idx="12">
                  <c:v>Туркестанская</c:v>
                </c:pt>
                <c:pt idx="13">
                  <c:v>Кызылординская</c:v>
                </c:pt>
                <c:pt idx="14">
                  <c:v>Костанайская</c:v>
                </c:pt>
                <c:pt idx="15">
                  <c:v>Жамбылская</c:v>
                </c:pt>
                <c:pt idx="16">
                  <c:v>г. Шымкент</c:v>
                </c:pt>
                <c:pt idx="17">
                  <c:v>Карагандинская</c:v>
                </c:pt>
                <c:pt idx="18">
                  <c:v>г. Астана</c:v>
                </c:pt>
                <c:pt idx="19">
                  <c:v>г. Алмат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3</c:v>
                </c:pt>
                <c:pt idx="1">
                  <c:v>19</c:v>
                </c:pt>
                <c:pt idx="2">
                  <c:v>31</c:v>
                </c:pt>
                <c:pt idx="3">
                  <c:v>34</c:v>
                </c:pt>
                <c:pt idx="4">
                  <c:v>44</c:v>
                </c:pt>
                <c:pt idx="5">
                  <c:v>51</c:v>
                </c:pt>
                <c:pt idx="6">
                  <c:v>57</c:v>
                </c:pt>
                <c:pt idx="7">
                  <c:v>71</c:v>
                </c:pt>
                <c:pt idx="8">
                  <c:v>74</c:v>
                </c:pt>
                <c:pt idx="9">
                  <c:v>74</c:v>
                </c:pt>
                <c:pt idx="10">
                  <c:v>84</c:v>
                </c:pt>
                <c:pt idx="11">
                  <c:v>87</c:v>
                </c:pt>
                <c:pt idx="12">
                  <c:v>95</c:v>
                </c:pt>
                <c:pt idx="13">
                  <c:v>104</c:v>
                </c:pt>
                <c:pt idx="14">
                  <c:v>113</c:v>
                </c:pt>
                <c:pt idx="15">
                  <c:v>128</c:v>
                </c:pt>
                <c:pt idx="16">
                  <c:v>144</c:v>
                </c:pt>
                <c:pt idx="17">
                  <c:v>279</c:v>
                </c:pt>
                <c:pt idx="18">
                  <c:v>1559</c:v>
                </c:pt>
                <c:pt idx="19">
                  <c:v>25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11B-4FF6-B090-4E0C5C99723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11B-4FF6-B090-4E0C5C99723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11B-4FF6-B090-4E0C5C99723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11B-4FF6-B090-4E0C5C99723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11B-4FF6-B090-4E0C5C99723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Информация и связь</c:v>
                </c:pt>
                <c:pt idx="1">
                  <c:v>Финансы и страхование</c:v>
                </c:pt>
                <c:pt idx="2">
                  <c:v>Операции с недвижимостью</c:v>
                </c:pt>
                <c:pt idx="3">
                  <c:v>Проф. и научная деятельность</c:v>
                </c:pt>
                <c:pt idx="4">
                  <c:v>Горнодобывающая промышленность</c:v>
                </c:pt>
                <c:pt idx="5">
                  <c:v>Адм. и вспом. обслуживание</c:v>
                </c:pt>
                <c:pt idx="6">
                  <c:v>Услуги по проживанию и питанию</c:v>
                </c:pt>
                <c:pt idx="7">
                  <c:v>Прочие индивидуальные услуги</c:v>
                </c:pt>
                <c:pt idx="8">
                  <c:v>Строительство </c:v>
                </c:pt>
                <c:pt idx="9">
                  <c:v>Водоснабжение и удаление отходов</c:v>
                </c:pt>
                <c:pt idx="10">
                  <c:v>Торговля</c:v>
                </c:pt>
                <c:pt idx="11">
                  <c:v>Искусство и развлечения</c:v>
                </c:pt>
                <c:pt idx="12">
                  <c:v>Транспорт и складирование</c:v>
                </c:pt>
                <c:pt idx="13">
                  <c:v>Электро- и энергоснабжение</c:v>
                </c:pt>
                <c:pt idx="14">
                  <c:v>Гос. управление и соц. обеспечение</c:v>
                </c:pt>
                <c:pt idx="15">
                  <c:v>Сельское хозяйство</c:v>
                </c:pt>
                <c:pt idx="16">
                  <c:v>Обрабатывающая промышленность </c:v>
                </c:pt>
                <c:pt idx="17">
                  <c:v>Здравоохран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5.6000000000000001E-2</c:v>
                </c:pt>
                <c:pt idx="1">
                  <c:v>7.0999999999999994E-2</c:v>
                </c:pt>
                <c:pt idx="2">
                  <c:v>0.27800000000000002</c:v>
                </c:pt>
                <c:pt idx="3">
                  <c:v>0.311</c:v>
                </c:pt>
                <c:pt idx="4">
                  <c:v>0.40300000000000002</c:v>
                </c:pt>
                <c:pt idx="5">
                  <c:v>0.65500000000000003</c:v>
                </c:pt>
                <c:pt idx="6">
                  <c:v>0.85899999999999999</c:v>
                </c:pt>
                <c:pt idx="7">
                  <c:v>0.88600000000000001</c:v>
                </c:pt>
                <c:pt idx="8">
                  <c:v>1.214</c:v>
                </c:pt>
                <c:pt idx="9">
                  <c:v>1.4390000000000001</c:v>
                </c:pt>
                <c:pt idx="10">
                  <c:v>1.585</c:v>
                </c:pt>
                <c:pt idx="11">
                  <c:v>1.7789999999999999</c:v>
                </c:pt>
                <c:pt idx="12">
                  <c:v>2.0270000000000001</c:v>
                </c:pt>
                <c:pt idx="13">
                  <c:v>2.282</c:v>
                </c:pt>
                <c:pt idx="14">
                  <c:v>2.8929999999999998</c:v>
                </c:pt>
                <c:pt idx="15">
                  <c:v>3.895</c:v>
                </c:pt>
                <c:pt idx="16">
                  <c:v>4.157</c:v>
                </c:pt>
                <c:pt idx="17">
                  <c:v>6.4180000000000001</c:v>
                </c:pt>
                <c:pt idx="18">
                  <c:v>14.521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11B-4FF6-B090-4E0C5C9972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6.4068339562199676E-3</c:v>
                </c:pt>
                <c:pt idx="1">
                  <c:v>0.99359316604378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5</c:v>
                </c:pt>
                <c:pt idx="1">
                  <c:v>54</c:v>
                </c:pt>
                <c:pt idx="2">
                  <c:v>15</c:v>
                </c:pt>
                <c:pt idx="3">
                  <c:v>1</c:v>
                </c:pt>
                <c:pt idx="4">
                  <c:v>172</c:v>
                </c:pt>
                <c:pt idx="5">
                  <c:v>1360</c:v>
                </c:pt>
                <c:pt idx="6">
                  <c:v>981</c:v>
                </c:pt>
                <c:pt idx="7">
                  <c:v>2563</c:v>
                </c:pt>
                <c:pt idx="8">
                  <c:v>3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2A7-45A6-8D4E-2A67558B2D5E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A7-45A6-8D4E-2A67558B2D5E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A7-45A6-8D4E-2A67558B2D5E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2A7-45A6-8D4E-2A67558B2D5E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3290000000000002</c:v>
                </c:pt>
                <c:pt idx="1">
                  <c:v>2.355</c:v>
                </c:pt>
                <c:pt idx="2">
                  <c:v>2.4870000000000001</c:v>
                </c:pt>
                <c:pt idx="3">
                  <c:v>3.0270000000000001</c:v>
                </c:pt>
                <c:pt idx="4">
                  <c:v>2.173</c:v>
                </c:pt>
                <c:pt idx="5">
                  <c:v>1.7170000000000001</c:v>
                </c:pt>
                <c:pt idx="6">
                  <c:v>2.6840000000000002</c:v>
                </c:pt>
                <c:pt idx="7">
                  <c:v>2.623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.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г. Шымкент</c:v>
                </c:pt>
                <c:pt idx="1">
                  <c:v>Абай</c:v>
                </c:pt>
                <c:pt idx="2">
                  <c:v>Западно-Казахстанская</c:v>
                </c:pt>
                <c:pt idx="3">
                  <c:v>Мангистауская</c:v>
                </c:pt>
                <c:pt idx="4">
                  <c:v>Жетысу</c:v>
                </c:pt>
                <c:pt idx="5">
                  <c:v>Кызылординская</c:v>
                </c:pt>
                <c:pt idx="6">
                  <c:v>Туркестанская</c:v>
                </c:pt>
                <c:pt idx="7">
                  <c:v>Жамбылская</c:v>
                </c:pt>
                <c:pt idx="8">
                  <c:v>Акмолинская</c:v>
                </c:pt>
                <c:pt idx="9">
                  <c:v>Атырауская</c:v>
                </c:pt>
                <c:pt idx="10">
                  <c:v>Северо-Казахстанская</c:v>
                </c:pt>
                <c:pt idx="11">
                  <c:v>Павлодарская</c:v>
                </c:pt>
                <c:pt idx="12">
                  <c:v>Актюбинская</c:v>
                </c:pt>
                <c:pt idx="13">
                  <c:v>Алматинская</c:v>
                </c:pt>
                <c:pt idx="14">
                  <c:v>Улытау</c:v>
                </c:pt>
                <c:pt idx="15">
                  <c:v>Восточно-Казахстанская</c:v>
                </c:pt>
                <c:pt idx="16">
                  <c:v>Костанайская</c:v>
                </c:pt>
                <c:pt idx="17">
                  <c:v>г. Алматы</c:v>
                </c:pt>
                <c:pt idx="18">
                  <c:v>Карагандинская</c:v>
                </c:pt>
                <c:pt idx="19">
                  <c:v>г. Астана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7</c:v>
                </c:pt>
                <c:pt idx="1">
                  <c:v>102</c:v>
                </c:pt>
                <c:pt idx="2">
                  <c:v>199</c:v>
                </c:pt>
                <c:pt idx="3">
                  <c:v>209</c:v>
                </c:pt>
                <c:pt idx="4">
                  <c:v>215</c:v>
                </c:pt>
                <c:pt idx="5">
                  <c:v>220</c:v>
                </c:pt>
                <c:pt idx="6">
                  <c:v>258</c:v>
                </c:pt>
                <c:pt idx="7">
                  <c:v>273</c:v>
                </c:pt>
                <c:pt idx="8">
                  <c:v>278</c:v>
                </c:pt>
                <c:pt idx="9">
                  <c:v>310</c:v>
                </c:pt>
                <c:pt idx="10">
                  <c:v>313</c:v>
                </c:pt>
                <c:pt idx="11">
                  <c:v>326</c:v>
                </c:pt>
                <c:pt idx="12">
                  <c:v>360</c:v>
                </c:pt>
                <c:pt idx="13">
                  <c:v>450</c:v>
                </c:pt>
                <c:pt idx="14">
                  <c:v>498</c:v>
                </c:pt>
                <c:pt idx="15">
                  <c:v>536</c:v>
                </c:pt>
                <c:pt idx="16">
                  <c:v>630</c:v>
                </c:pt>
                <c:pt idx="17">
                  <c:v>1099</c:v>
                </c:pt>
                <c:pt idx="18">
                  <c:v>1364</c:v>
                </c:pt>
                <c:pt idx="19">
                  <c:v>14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3192345329998912</c:v>
                </c:pt>
                <c:pt idx="1">
                  <c:v>0.768076546700010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012</c:v>
                </c:pt>
                <c:pt idx="1">
                  <c:v>454</c:v>
                </c:pt>
                <c:pt idx="2">
                  <c:v>1474</c:v>
                </c:pt>
                <c:pt idx="3">
                  <c:v>24</c:v>
                </c:pt>
                <c:pt idx="4">
                  <c:v>821</c:v>
                </c:pt>
                <c:pt idx="5">
                  <c:v>178</c:v>
                </c:pt>
                <c:pt idx="6">
                  <c:v>1363</c:v>
                </c:pt>
                <c:pt idx="7">
                  <c:v>710</c:v>
                </c:pt>
                <c:pt idx="8">
                  <c:v>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892-4596-B5FD-C48EA23FE4F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892-4596-B5FD-C48EA23FE4F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892-4596-B5FD-C48EA23FE4F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892-4596-B5FD-C48EA23FE4F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3.7330000000000001</c:v>
                </c:pt>
                <c:pt idx="1">
                  <c:v>4.1150000000000002</c:v>
                </c:pt>
                <c:pt idx="2">
                  <c:v>4.3040000000000003</c:v>
                </c:pt>
                <c:pt idx="3">
                  <c:v>4.8659999999999997</c:v>
                </c:pt>
                <c:pt idx="4">
                  <c:v>4.0060000000000002</c:v>
                </c:pt>
                <c:pt idx="5">
                  <c:v>4.1660000000000004</c:v>
                </c:pt>
                <c:pt idx="6">
                  <c:v>4.6779999999999999</c:v>
                </c:pt>
                <c:pt idx="7">
                  <c:v>4.003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Жетысу</c:v>
                </c:pt>
                <c:pt idx="2">
                  <c:v>Акмолинская</c:v>
                </c:pt>
                <c:pt idx="3">
                  <c:v>Северо-Казахстанская</c:v>
                </c:pt>
                <c:pt idx="4">
                  <c:v>Мангистауская</c:v>
                </c:pt>
                <c:pt idx="5">
                  <c:v>Алматинская</c:v>
                </c:pt>
                <c:pt idx="6">
                  <c:v>Актюбинская</c:v>
                </c:pt>
                <c:pt idx="7">
                  <c:v>Костанайская</c:v>
                </c:pt>
                <c:pt idx="8">
                  <c:v>Кызылординская</c:v>
                </c:pt>
                <c:pt idx="9">
                  <c:v>Восточно-Казахстанская</c:v>
                </c:pt>
                <c:pt idx="10">
                  <c:v>Павлодарская</c:v>
                </c:pt>
                <c:pt idx="11">
                  <c:v>Западно-Казахстанская</c:v>
                </c:pt>
                <c:pt idx="12">
                  <c:v>Карагандинская</c:v>
                </c:pt>
                <c:pt idx="13">
                  <c:v>г. Шымкент</c:v>
                </c:pt>
                <c:pt idx="14">
                  <c:v>Атырауская</c:v>
                </c:pt>
                <c:pt idx="15">
                  <c:v>Туркестанская</c:v>
                </c:pt>
                <c:pt idx="16">
                  <c:v>Жамбылская</c:v>
                </c:pt>
                <c:pt idx="17">
                  <c:v>Абай</c:v>
                </c:pt>
                <c:pt idx="18">
                  <c:v>г. Алматы</c:v>
                </c:pt>
                <c:pt idx="19">
                  <c:v>г. Астана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4</c:v>
                </c:pt>
                <c:pt idx="1">
                  <c:v>256</c:v>
                </c:pt>
                <c:pt idx="2">
                  <c:v>311</c:v>
                </c:pt>
                <c:pt idx="3">
                  <c:v>353</c:v>
                </c:pt>
                <c:pt idx="4">
                  <c:v>441</c:v>
                </c:pt>
                <c:pt idx="5">
                  <c:v>452</c:v>
                </c:pt>
                <c:pt idx="6">
                  <c:v>455</c:v>
                </c:pt>
                <c:pt idx="7">
                  <c:v>455</c:v>
                </c:pt>
                <c:pt idx="8">
                  <c:v>502</c:v>
                </c:pt>
                <c:pt idx="9">
                  <c:v>526</c:v>
                </c:pt>
                <c:pt idx="10">
                  <c:v>532</c:v>
                </c:pt>
                <c:pt idx="11">
                  <c:v>739</c:v>
                </c:pt>
                <c:pt idx="12">
                  <c:v>744</c:v>
                </c:pt>
                <c:pt idx="13">
                  <c:v>843</c:v>
                </c:pt>
                <c:pt idx="14">
                  <c:v>1115</c:v>
                </c:pt>
                <c:pt idx="15">
                  <c:v>1176</c:v>
                </c:pt>
                <c:pt idx="16">
                  <c:v>1201</c:v>
                </c:pt>
                <c:pt idx="17">
                  <c:v>1455</c:v>
                </c:pt>
                <c:pt idx="18">
                  <c:v>2077</c:v>
                </c:pt>
                <c:pt idx="19">
                  <c:v>3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3485432860618288</c:v>
                </c:pt>
                <c:pt idx="1">
                  <c:v>0.765145671393817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389</c:v>
                </c:pt>
                <c:pt idx="1">
                  <c:v>1608</c:v>
                </c:pt>
                <c:pt idx="2">
                  <c:v>1425</c:v>
                </c:pt>
                <c:pt idx="3">
                  <c:v>164</c:v>
                </c:pt>
                <c:pt idx="4">
                  <c:v>741</c:v>
                </c:pt>
                <c:pt idx="5">
                  <c:v>1098</c:v>
                </c:pt>
                <c:pt idx="6">
                  <c:v>2342</c:v>
                </c:pt>
                <c:pt idx="7">
                  <c:v>5785</c:v>
                </c:pt>
                <c:pt idx="8">
                  <c:v>1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6B3-4364-8E61-4516BF4DC09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6B3-4364-8E61-4516BF4DC09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563296813838047</c:v>
                </c:pt>
                <c:pt idx="1">
                  <c:v>0.70436703186161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B3-4364-8E61-4516BF4DC0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06-4F24-A052-2F6F5AD25D8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06-4F24-A052-2F6F5AD25D8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806-4F24-A052-2F6F5AD25D8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806-4F24-A052-2F6F5AD25D8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.266</c:v>
                </c:pt>
                <c:pt idx="1">
                  <c:v>8.782</c:v>
                </c:pt>
                <c:pt idx="2">
                  <c:v>9.44</c:v>
                </c:pt>
                <c:pt idx="3">
                  <c:v>11.815</c:v>
                </c:pt>
                <c:pt idx="4">
                  <c:v>9.9979999999999993</c:v>
                </c:pt>
                <c:pt idx="5">
                  <c:v>10.6</c:v>
                </c:pt>
                <c:pt idx="6">
                  <c:v>9.5470000000000006</c:v>
                </c:pt>
                <c:pt idx="7">
                  <c:v>8.861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Жетысу</c:v>
                </c:pt>
                <c:pt idx="1">
                  <c:v>Северо-Казахстанская</c:v>
                </c:pt>
                <c:pt idx="2">
                  <c:v>Алматинская</c:v>
                </c:pt>
                <c:pt idx="3">
                  <c:v>Абай</c:v>
                </c:pt>
                <c:pt idx="4">
                  <c:v>Кызылординская</c:v>
                </c:pt>
                <c:pt idx="5">
                  <c:v>Улытау</c:v>
                </c:pt>
                <c:pt idx="6">
                  <c:v>Мангистауская</c:v>
                </c:pt>
                <c:pt idx="7">
                  <c:v>Восточно-Казахстанская</c:v>
                </c:pt>
                <c:pt idx="8">
                  <c:v>Акмолинская</c:v>
                </c:pt>
                <c:pt idx="9">
                  <c:v>Жамбылская</c:v>
                </c:pt>
                <c:pt idx="10">
                  <c:v>г. Шымкент</c:v>
                </c:pt>
                <c:pt idx="11">
                  <c:v>Туркестанская</c:v>
                </c:pt>
                <c:pt idx="12">
                  <c:v>Западно-Казахстанская</c:v>
                </c:pt>
                <c:pt idx="13">
                  <c:v>Актюбинская</c:v>
                </c:pt>
                <c:pt idx="14">
                  <c:v>Костанайская</c:v>
                </c:pt>
                <c:pt idx="15">
                  <c:v>Карагандинская</c:v>
                </c:pt>
                <c:pt idx="16">
                  <c:v>Павлодарская</c:v>
                </c:pt>
                <c:pt idx="17">
                  <c:v>г. Алматы</c:v>
                </c:pt>
                <c:pt idx="18">
                  <c:v>г. Астана</c:v>
                </c:pt>
                <c:pt idx="19">
                  <c:v>Атырау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62</c:v>
                </c:pt>
                <c:pt idx="1">
                  <c:v>407</c:v>
                </c:pt>
                <c:pt idx="2">
                  <c:v>408</c:v>
                </c:pt>
                <c:pt idx="3">
                  <c:v>409</c:v>
                </c:pt>
                <c:pt idx="4">
                  <c:v>486</c:v>
                </c:pt>
                <c:pt idx="5">
                  <c:v>545</c:v>
                </c:pt>
                <c:pt idx="6">
                  <c:v>603</c:v>
                </c:pt>
                <c:pt idx="7">
                  <c:v>627</c:v>
                </c:pt>
                <c:pt idx="8">
                  <c:v>655</c:v>
                </c:pt>
                <c:pt idx="9">
                  <c:v>868</c:v>
                </c:pt>
                <c:pt idx="10">
                  <c:v>898</c:v>
                </c:pt>
                <c:pt idx="11">
                  <c:v>1412</c:v>
                </c:pt>
                <c:pt idx="12">
                  <c:v>1431</c:v>
                </c:pt>
                <c:pt idx="13">
                  <c:v>1795</c:v>
                </c:pt>
                <c:pt idx="14">
                  <c:v>2064</c:v>
                </c:pt>
                <c:pt idx="15">
                  <c:v>2222</c:v>
                </c:pt>
                <c:pt idx="16">
                  <c:v>3246</c:v>
                </c:pt>
                <c:pt idx="17">
                  <c:v>6188</c:v>
                </c:pt>
                <c:pt idx="18">
                  <c:v>7169</c:v>
                </c:pt>
                <c:pt idx="19">
                  <c:v>73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9517510126647183</c:v>
                </c:pt>
                <c:pt idx="1">
                  <c:v>0.804824898733528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497</c:v>
                </c:pt>
                <c:pt idx="1">
                  <c:v>3798</c:v>
                </c:pt>
                <c:pt idx="2">
                  <c:v>3613</c:v>
                </c:pt>
                <c:pt idx="3">
                  <c:v>47</c:v>
                </c:pt>
                <c:pt idx="4">
                  <c:v>12749</c:v>
                </c:pt>
                <c:pt idx="5">
                  <c:v>2441</c:v>
                </c:pt>
                <c:pt idx="6">
                  <c:v>2013</c:v>
                </c:pt>
                <c:pt idx="7">
                  <c:v>2837</c:v>
                </c:pt>
                <c:pt idx="8">
                  <c:v>10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F0C-4C4A-B221-ED09F244C6F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F0C-4C4A-B221-ED09F244C6F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F0C-4C4A-B221-ED09F244C6F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F0C-4C4A-B221-ED09F244C6F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6.448</c:v>
                </c:pt>
                <c:pt idx="1">
                  <c:v>16.401</c:v>
                </c:pt>
                <c:pt idx="2">
                  <c:v>18.096</c:v>
                </c:pt>
                <c:pt idx="3">
                  <c:v>15.504</c:v>
                </c:pt>
                <c:pt idx="4">
                  <c:v>16.747</c:v>
                </c:pt>
                <c:pt idx="5">
                  <c:v>19.776</c:v>
                </c:pt>
                <c:pt idx="6">
                  <c:v>18.305</c:v>
                </c:pt>
                <c:pt idx="7">
                  <c:v>14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г. Алматы</c:v>
                </c:pt>
                <c:pt idx="1">
                  <c:v>Улытау</c:v>
                </c:pt>
                <c:pt idx="2">
                  <c:v>Атырауская</c:v>
                </c:pt>
                <c:pt idx="3">
                  <c:v>Жетысу</c:v>
                </c:pt>
                <c:pt idx="4">
                  <c:v>Алматинская</c:v>
                </c:pt>
                <c:pt idx="5">
                  <c:v>Акмолинская</c:v>
                </c:pt>
                <c:pt idx="6">
                  <c:v>Карагандинская</c:v>
                </c:pt>
                <c:pt idx="7">
                  <c:v>Мангистауская</c:v>
                </c:pt>
                <c:pt idx="8">
                  <c:v>Кызылординская</c:v>
                </c:pt>
                <c:pt idx="9">
                  <c:v>Павлодарская</c:v>
                </c:pt>
                <c:pt idx="10">
                  <c:v>Северо-Казахстанская</c:v>
                </c:pt>
                <c:pt idx="11">
                  <c:v>г. Астана</c:v>
                </c:pt>
                <c:pt idx="12">
                  <c:v>Западно-Казахстанская</c:v>
                </c:pt>
                <c:pt idx="13">
                  <c:v>Жамбылская</c:v>
                </c:pt>
                <c:pt idx="14">
                  <c:v>Восточно-Казахстанская</c:v>
                </c:pt>
                <c:pt idx="15">
                  <c:v>Абай</c:v>
                </c:pt>
                <c:pt idx="16">
                  <c:v>г. Шымкент</c:v>
                </c:pt>
                <c:pt idx="17">
                  <c:v>Актюбинская</c:v>
                </c:pt>
                <c:pt idx="18">
                  <c:v>Туркестанская</c:v>
                </c:pt>
                <c:pt idx="19">
                  <c:v>Костанай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54</c:v>
                </c:pt>
                <c:pt idx="1">
                  <c:v>1367</c:v>
                </c:pt>
                <c:pt idx="2">
                  <c:v>2117</c:v>
                </c:pt>
                <c:pt idx="3">
                  <c:v>2388</c:v>
                </c:pt>
                <c:pt idx="4">
                  <c:v>2787</c:v>
                </c:pt>
                <c:pt idx="5">
                  <c:v>2893</c:v>
                </c:pt>
                <c:pt idx="6">
                  <c:v>2932</c:v>
                </c:pt>
                <c:pt idx="7">
                  <c:v>3206</c:v>
                </c:pt>
                <c:pt idx="8">
                  <c:v>3484</c:v>
                </c:pt>
                <c:pt idx="9">
                  <c:v>3503</c:v>
                </c:pt>
                <c:pt idx="10">
                  <c:v>3531</c:v>
                </c:pt>
                <c:pt idx="11">
                  <c:v>3572</c:v>
                </c:pt>
                <c:pt idx="12">
                  <c:v>3574</c:v>
                </c:pt>
                <c:pt idx="13">
                  <c:v>4025</c:v>
                </c:pt>
                <c:pt idx="14">
                  <c:v>4214</c:v>
                </c:pt>
                <c:pt idx="15">
                  <c:v>4275</c:v>
                </c:pt>
                <c:pt idx="16">
                  <c:v>4646</c:v>
                </c:pt>
                <c:pt idx="17">
                  <c:v>4952</c:v>
                </c:pt>
                <c:pt idx="18">
                  <c:v>5521</c:v>
                </c:pt>
                <c:pt idx="19">
                  <c:v>58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7.9270883187894603E-2"/>
                  <c:y val="0.1702244528920913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0954605376282456</c:v>
                </c:pt>
                <c:pt idx="1">
                  <c:v>0.89045394623717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9753</c:v>
                </c:pt>
                <c:pt idx="1">
                  <c:v>5861</c:v>
                </c:pt>
                <c:pt idx="2">
                  <c:v>1963</c:v>
                </c:pt>
                <c:pt idx="3">
                  <c:v>2266</c:v>
                </c:pt>
                <c:pt idx="4">
                  <c:v>3268</c:v>
                </c:pt>
                <c:pt idx="5">
                  <c:v>5162</c:v>
                </c:pt>
                <c:pt idx="6">
                  <c:v>5882</c:v>
                </c:pt>
                <c:pt idx="7">
                  <c:v>10332</c:v>
                </c:pt>
                <c:pt idx="8">
                  <c:v>153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051-4680-A283-F43178CBEEA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051-4680-A283-F43178CBEEA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051-4680-A283-F43178CBEEA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051-4680-A283-F43178CBEEA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1.970999999999997</c:v>
                </c:pt>
                <c:pt idx="1">
                  <c:v>46.058999999999997</c:v>
                </c:pt>
                <c:pt idx="2">
                  <c:v>114.265</c:v>
                </c:pt>
                <c:pt idx="3">
                  <c:v>89.361000000000004</c:v>
                </c:pt>
                <c:pt idx="4">
                  <c:v>66.236999999999995</c:v>
                </c:pt>
                <c:pt idx="5">
                  <c:v>49.241999999999997</c:v>
                </c:pt>
                <c:pt idx="6">
                  <c:v>122.297</c:v>
                </c:pt>
                <c:pt idx="7">
                  <c:v>89.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Кызылординская</c:v>
                </c:pt>
                <c:pt idx="2">
                  <c:v>Абай</c:v>
                </c:pt>
                <c:pt idx="3">
                  <c:v>Северо-Казахстанская</c:v>
                </c:pt>
                <c:pt idx="4">
                  <c:v>г. Шымкент</c:v>
                </c:pt>
                <c:pt idx="5">
                  <c:v>Мангистауская</c:v>
                </c:pt>
                <c:pt idx="6">
                  <c:v>Жетысу</c:v>
                </c:pt>
                <c:pt idx="7">
                  <c:v>Акмолинская</c:v>
                </c:pt>
                <c:pt idx="8">
                  <c:v>Костанайская</c:v>
                </c:pt>
                <c:pt idx="9">
                  <c:v>Павлодарская</c:v>
                </c:pt>
                <c:pt idx="10">
                  <c:v>Восточно-Казахстанская</c:v>
                </c:pt>
                <c:pt idx="11">
                  <c:v>Атырауская</c:v>
                </c:pt>
                <c:pt idx="12">
                  <c:v>Актюбинская</c:v>
                </c:pt>
                <c:pt idx="13">
                  <c:v>Жамбылская</c:v>
                </c:pt>
                <c:pt idx="14">
                  <c:v>Туркестанская</c:v>
                </c:pt>
                <c:pt idx="15">
                  <c:v>Алматинская</c:v>
                </c:pt>
                <c:pt idx="16">
                  <c:v>Западно-Казахстанская</c:v>
                </c:pt>
                <c:pt idx="17">
                  <c:v>г. Алматы</c:v>
                </c:pt>
                <c:pt idx="18">
                  <c:v>Карагандинская</c:v>
                </c:pt>
                <c:pt idx="19">
                  <c:v>г. Астана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6533</c:v>
                </c:pt>
                <c:pt idx="1">
                  <c:v>7388</c:v>
                </c:pt>
                <c:pt idx="2">
                  <c:v>8733</c:v>
                </c:pt>
                <c:pt idx="3">
                  <c:v>9677</c:v>
                </c:pt>
                <c:pt idx="4">
                  <c:v>9821</c:v>
                </c:pt>
                <c:pt idx="5">
                  <c:v>11831</c:v>
                </c:pt>
                <c:pt idx="6">
                  <c:v>12216</c:v>
                </c:pt>
                <c:pt idx="7">
                  <c:v>14521</c:v>
                </c:pt>
                <c:pt idx="8">
                  <c:v>14669</c:v>
                </c:pt>
                <c:pt idx="9">
                  <c:v>14775</c:v>
                </c:pt>
                <c:pt idx="10">
                  <c:v>16825</c:v>
                </c:pt>
                <c:pt idx="11">
                  <c:v>17221</c:v>
                </c:pt>
                <c:pt idx="12">
                  <c:v>17589</c:v>
                </c:pt>
                <c:pt idx="13">
                  <c:v>19264</c:v>
                </c:pt>
                <c:pt idx="14">
                  <c:v>19974</c:v>
                </c:pt>
                <c:pt idx="15">
                  <c:v>20595</c:v>
                </c:pt>
                <c:pt idx="16">
                  <c:v>21063</c:v>
                </c:pt>
                <c:pt idx="17">
                  <c:v>27101</c:v>
                </c:pt>
                <c:pt idx="18">
                  <c:v>27187</c:v>
                </c:pt>
                <c:pt idx="19">
                  <c:v>29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69450060995896645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FA8C-49E9-83C4-2CAE416C8EFC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A8C-49E9-83C4-2CAE416C8EFC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FA8C-49E9-83C4-2CAE416C8EFC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FA8C-49E9-83C4-2CAE416C8EFC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FA8C-49E9-83C4-2CAE416C8EF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562</c:v>
                </c:pt>
                <c:pt idx="1">
                  <c:v>5756</c:v>
                </c:pt>
                <c:pt idx="2">
                  <c:v>5320</c:v>
                </c:pt>
                <c:pt idx="3">
                  <c:v>685</c:v>
                </c:pt>
                <c:pt idx="4">
                  <c:v>3409</c:v>
                </c:pt>
                <c:pt idx="5">
                  <c:v>1247</c:v>
                </c:pt>
                <c:pt idx="6">
                  <c:v>4554</c:v>
                </c:pt>
                <c:pt idx="7">
                  <c:v>14071</c:v>
                </c:pt>
                <c:pt idx="8">
                  <c:v>2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A8C-49E9-83C4-2CAE416C8E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7.5021143797491668E-2"/>
                  <c:y val="0.1327678273563516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9.5093104028642683E-2</c:v>
                </c:pt>
                <c:pt idx="1">
                  <c:v>0.904906895971357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3238</c:v>
                </c:pt>
                <c:pt idx="1">
                  <c:v>11221</c:v>
                </c:pt>
                <c:pt idx="2">
                  <c:v>11549</c:v>
                </c:pt>
                <c:pt idx="3">
                  <c:v>256</c:v>
                </c:pt>
                <c:pt idx="4">
                  <c:v>25313</c:v>
                </c:pt>
                <c:pt idx="5">
                  <c:v>12129</c:v>
                </c:pt>
                <c:pt idx="6">
                  <c:v>22710</c:v>
                </c:pt>
                <c:pt idx="7">
                  <c:v>166700</c:v>
                </c:pt>
                <c:pt idx="8">
                  <c:v>13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2C4-4FB1-A841-623877A245B4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2C4-4FB1-A841-623877A245B4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2C4-4FB1-A841-623877A245B4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2C4-4FB1-A841-623877A245B4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3.843</c:v>
                </c:pt>
                <c:pt idx="1">
                  <c:v>24.463999999999999</c:v>
                </c:pt>
                <c:pt idx="2">
                  <c:v>23.928999999999998</c:v>
                </c:pt>
                <c:pt idx="3">
                  <c:v>24.395</c:v>
                </c:pt>
                <c:pt idx="4">
                  <c:v>26.445</c:v>
                </c:pt>
                <c:pt idx="5">
                  <c:v>26.94</c:v>
                </c:pt>
                <c:pt idx="6">
                  <c:v>27.667999999999999</c:v>
                </c:pt>
                <c:pt idx="7">
                  <c:v>26.4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Кызылординская</c:v>
                </c:pt>
                <c:pt idx="2">
                  <c:v>Атырауская</c:v>
                </c:pt>
                <c:pt idx="3">
                  <c:v>Абай</c:v>
                </c:pt>
                <c:pt idx="4">
                  <c:v>Мангистауская</c:v>
                </c:pt>
                <c:pt idx="5">
                  <c:v>Алматинская</c:v>
                </c:pt>
                <c:pt idx="6">
                  <c:v>Северо-Казахстанская</c:v>
                </c:pt>
                <c:pt idx="7">
                  <c:v>Жетысу</c:v>
                </c:pt>
                <c:pt idx="8">
                  <c:v>г. Шымкент</c:v>
                </c:pt>
                <c:pt idx="9">
                  <c:v>Актюбинская</c:v>
                </c:pt>
                <c:pt idx="10">
                  <c:v>Жамбылская</c:v>
                </c:pt>
                <c:pt idx="11">
                  <c:v>Восточно-Казахстанская</c:v>
                </c:pt>
                <c:pt idx="12">
                  <c:v>Туркестанская</c:v>
                </c:pt>
                <c:pt idx="13">
                  <c:v>Павлодарская</c:v>
                </c:pt>
                <c:pt idx="14">
                  <c:v>Акмолинская</c:v>
                </c:pt>
                <c:pt idx="15">
                  <c:v>Карагандинская</c:v>
                </c:pt>
                <c:pt idx="16">
                  <c:v>Западно-Казахстанская</c:v>
                </c:pt>
                <c:pt idx="17">
                  <c:v>Костанайская</c:v>
                </c:pt>
                <c:pt idx="18">
                  <c:v>г. Астана</c:v>
                </c:pt>
                <c:pt idx="19">
                  <c:v>г. Алмат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306</c:v>
                </c:pt>
                <c:pt idx="1">
                  <c:v>2819</c:v>
                </c:pt>
                <c:pt idx="2">
                  <c:v>2872</c:v>
                </c:pt>
                <c:pt idx="3">
                  <c:v>2918</c:v>
                </c:pt>
                <c:pt idx="4">
                  <c:v>3130</c:v>
                </c:pt>
                <c:pt idx="5">
                  <c:v>3788</c:v>
                </c:pt>
                <c:pt idx="6">
                  <c:v>4253</c:v>
                </c:pt>
                <c:pt idx="7">
                  <c:v>4614</c:v>
                </c:pt>
                <c:pt idx="8">
                  <c:v>4896</c:v>
                </c:pt>
                <c:pt idx="9">
                  <c:v>5005</c:v>
                </c:pt>
                <c:pt idx="10">
                  <c:v>5247</c:v>
                </c:pt>
                <c:pt idx="11">
                  <c:v>5405</c:v>
                </c:pt>
                <c:pt idx="12">
                  <c:v>5686</c:v>
                </c:pt>
                <c:pt idx="13">
                  <c:v>6011</c:v>
                </c:pt>
                <c:pt idx="14">
                  <c:v>6418</c:v>
                </c:pt>
                <c:pt idx="15">
                  <c:v>7148</c:v>
                </c:pt>
                <c:pt idx="16">
                  <c:v>7961</c:v>
                </c:pt>
                <c:pt idx="17">
                  <c:v>8389</c:v>
                </c:pt>
                <c:pt idx="18">
                  <c:v>8592</c:v>
                </c:pt>
                <c:pt idx="19">
                  <c:v>110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173059577277505</c:v>
                </c:pt>
                <c:pt idx="1">
                  <c:v>0.70826940422722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126</c:v>
                </c:pt>
                <c:pt idx="1">
                  <c:v>4227</c:v>
                </c:pt>
                <c:pt idx="2">
                  <c:v>1943</c:v>
                </c:pt>
                <c:pt idx="3">
                  <c:v>137</c:v>
                </c:pt>
                <c:pt idx="4">
                  <c:v>17938</c:v>
                </c:pt>
                <c:pt idx="5">
                  <c:v>2124</c:v>
                </c:pt>
                <c:pt idx="6">
                  <c:v>29004</c:v>
                </c:pt>
                <c:pt idx="7">
                  <c:v>43612</c:v>
                </c:pt>
                <c:pt idx="8">
                  <c:v>14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76B-4521-8E7B-E31CF3246D88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76B-4521-8E7B-E31CF3246D88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76B-4521-8E7B-E31CF3246D88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76B-4521-8E7B-E31CF3246D88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.93</c:v>
                </c:pt>
                <c:pt idx="1">
                  <c:v>5.9219999999999997</c:v>
                </c:pt>
                <c:pt idx="2">
                  <c:v>7.1909999999999998</c:v>
                </c:pt>
                <c:pt idx="3">
                  <c:v>8.1189999999999998</c:v>
                </c:pt>
                <c:pt idx="4">
                  <c:v>6.4829999999999997</c:v>
                </c:pt>
                <c:pt idx="5">
                  <c:v>6.4269999999999996</c:v>
                </c:pt>
                <c:pt idx="6">
                  <c:v>7.2359999999999998</c:v>
                </c:pt>
                <c:pt idx="7">
                  <c:v>8.433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Северо-Казахстанская</c:v>
                </c:pt>
                <c:pt idx="1">
                  <c:v>Улытау</c:v>
                </c:pt>
                <c:pt idx="2">
                  <c:v>Жетысу</c:v>
                </c:pt>
                <c:pt idx="3">
                  <c:v>Абай</c:v>
                </c:pt>
                <c:pt idx="4">
                  <c:v>Восточно-Казахстанская</c:v>
                </c:pt>
                <c:pt idx="5">
                  <c:v>Алматинская</c:v>
                </c:pt>
                <c:pt idx="6">
                  <c:v>Мангистауская</c:v>
                </c:pt>
                <c:pt idx="7">
                  <c:v>Атырауская</c:v>
                </c:pt>
                <c:pt idx="8">
                  <c:v>г. Алматы</c:v>
                </c:pt>
                <c:pt idx="9">
                  <c:v>Кызылординская</c:v>
                </c:pt>
                <c:pt idx="10">
                  <c:v>г. Астана</c:v>
                </c:pt>
                <c:pt idx="11">
                  <c:v>Жамбылская</c:v>
                </c:pt>
                <c:pt idx="12">
                  <c:v>Актюбинская</c:v>
                </c:pt>
                <c:pt idx="13">
                  <c:v>Костанайская</c:v>
                </c:pt>
                <c:pt idx="14">
                  <c:v>Павлодарская</c:v>
                </c:pt>
                <c:pt idx="15">
                  <c:v>Акмолинская</c:v>
                </c:pt>
                <c:pt idx="16">
                  <c:v>г. Шымкент</c:v>
                </c:pt>
                <c:pt idx="17">
                  <c:v>Западно-Казахстанская</c:v>
                </c:pt>
                <c:pt idx="18">
                  <c:v>Туркестанская</c:v>
                </c:pt>
                <c:pt idx="19">
                  <c:v>Карагандин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499</c:v>
                </c:pt>
                <c:pt idx="1">
                  <c:v>525</c:v>
                </c:pt>
                <c:pt idx="2">
                  <c:v>592</c:v>
                </c:pt>
                <c:pt idx="3">
                  <c:v>722</c:v>
                </c:pt>
                <c:pt idx="4">
                  <c:v>1035</c:v>
                </c:pt>
                <c:pt idx="5">
                  <c:v>1057</c:v>
                </c:pt>
                <c:pt idx="6">
                  <c:v>1146</c:v>
                </c:pt>
                <c:pt idx="7">
                  <c:v>1185</c:v>
                </c:pt>
                <c:pt idx="8">
                  <c:v>1287</c:v>
                </c:pt>
                <c:pt idx="9">
                  <c:v>1307</c:v>
                </c:pt>
                <c:pt idx="10">
                  <c:v>1370</c:v>
                </c:pt>
                <c:pt idx="11">
                  <c:v>1378</c:v>
                </c:pt>
                <c:pt idx="12">
                  <c:v>1404</c:v>
                </c:pt>
                <c:pt idx="13">
                  <c:v>1564</c:v>
                </c:pt>
                <c:pt idx="14">
                  <c:v>1771</c:v>
                </c:pt>
                <c:pt idx="15">
                  <c:v>1779</c:v>
                </c:pt>
                <c:pt idx="16">
                  <c:v>1929</c:v>
                </c:pt>
                <c:pt idx="17">
                  <c:v>2388</c:v>
                </c:pt>
                <c:pt idx="18">
                  <c:v>2747</c:v>
                </c:pt>
                <c:pt idx="19">
                  <c:v>2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0.11243288073586971"/>
                  <c:y val="0.157638155504227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5643806857942616</c:v>
                </c:pt>
                <c:pt idx="1">
                  <c:v>0.843561931420573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8220</c:v>
                </c:pt>
                <c:pt idx="1">
                  <c:v>2777</c:v>
                </c:pt>
                <c:pt idx="2">
                  <c:v>1609</c:v>
                </c:pt>
                <c:pt idx="3">
                  <c:v>177</c:v>
                </c:pt>
                <c:pt idx="4">
                  <c:v>1322</c:v>
                </c:pt>
                <c:pt idx="5">
                  <c:v>853</c:v>
                </c:pt>
                <c:pt idx="6">
                  <c:v>3855</c:v>
                </c:pt>
                <c:pt idx="7">
                  <c:v>8476</c:v>
                </c:pt>
                <c:pt idx="8">
                  <c:v>1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A5C-4A33-8A86-C02912CB411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A5C-4A33-8A86-C02912CB411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A5C-4A33-8A86-C02912CB411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A5C-4A33-8A86-C02912CB411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A5C-4A33-8A86-C02912CB411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8.7159999999999993</c:v>
                </c:pt>
                <c:pt idx="1">
                  <c:v>9.7129999999999992</c:v>
                </c:pt>
                <c:pt idx="2">
                  <c:v>17.122</c:v>
                </c:pt>
                <c:pt idx="3">
                  <c:v>14.492000000000001</c:v>
                </c:pt>
                <c:pt idx="4">
                  <c:v>10.028</c:v>
                </c:pt>
                <c:pt idx="5">
                  <c:v>10.134</c:v>
                </c:pt>
                <c:pt idx="6">
                  <c:v>16.271000000000001</c:v>
                </c:pt>
                <c:pt idx="7">
                  <c:v>16.0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A5C-4A33-8A86-C02912CB41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BFE-4B1D-B4B4-335CF1FE53E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BFE-4B1D-B4B4-335CF1FE53E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BFE-4B1D-B4B4-335CF1FE53E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BFE-4B1D-B4B4-335CF1FE53E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4.6079999999999997</c:v>
                </c:pt>
                <c:pt idx="1">
                  <c:v>4.5880000000000001</c:v>
                </c:pt>
                <c:pt idx="2">
                  <c:v>5.8129999999999997</c:v>
                </c:pt>
                <c:pt idx="3">
                  <c:v>12.228999999999999</c:v>
                </c:pt>
                <c:pt idx="4">
                  <c:v>4.4790000000000001</c:v>
                </c:pt>
                <c:pt idx="5">
                  <c:v>7.6340000000000003</c:v>
                </c:pt>
                <c:pt idx="6">
                  <c:v>12.295999999999999</c:v>
                </c:pt>
                <c:pt idx="7">
                  <c:v>10.6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41991529064666"/>
          <c:y val="2.1490126486441406E-2"/>
          <c:w val="0.62705932602564129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Абай</c:v>
                </c:pt>
                <c:pt idx="1">
                  <c:v>Западно-Казахстанская</c:v>
                </c:pt>
                <c:pt idx="2">
                  <c:v>Улытау</c:v>
                </c:pt>
                <c:pt idx="3">
                  <c:v>Восточно-Казахстанская</c:v>
                </c:pt>
                <c:pt idx="4">
                  <c:v>Павлодарская</c:v>
                </c:pt>
                <c:pt idx="5">
                  <c:v>Мангистауская</c:v>
                </c:pt>
                <c:pt idx="6">
                  <c:v>Северо-Казахстанская</c:v>
                </c:pt>
                <c:pt idx="7">
                  <c:v>Акмолинская</c:v>
                </c:pt>
                <c:pt idx="8">
                  <c:v>Жетысу</c:v>
                </c:pt>
                <c:pt idx="9">
                  <c:v>Актюбинская</c:v>
                </c:pt>
                <c:pt idx="10">
                  <c:v>Костанайская</c:v>
                </c:pt>
                <c:pt idx="11">
                  <c:v>Жамбылская</c:v>
                </c:pt>
                <c:pt idx="12">
                  <c:v>Алматинская</c:v>
                </c:pt>
                <c:pt idx="13">
                  <c:v>г. Шымкент</c:v>
                </c:pt>
                <c:pt idx="14">
                  <c:v>Кызылординская</c:v>
                </c:pt>
                <c:pt idx="15">
                  <c:v>Карагандинская</c:v>
                </c:pt>
                <c:pt idx="16">
                  <c:v>г. Алматы</c:v>
                </c:pt>
                <c:pt idx="17">
                  <c:v>г. Астана</c:v>
                </c:pt>
                <c:pt idx="18">
                  <c:v>Туркестанская</c:v>
                </c:pt>
                <c:pt idx="19">
                  <c:v>Атырау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70</c:v>
                </c:pt>
                <c:pt idx="1">
                  <c:v>421</c:v>
                </c:pt>
                <c:pt idx="2">
                  <c:v>483</c:v>
                </c:pt>
                <c:pt idx="3">
                  <c:v>516</c:v>
                </c:pt>
                <c:pt idx="4">
                  <c:v>667</c:v>
                </c:pt>
                <c:pt idx="5">
                  <c:v>694</c:v>
                </c:pt>
                <c:pt idx="6">
                  <c:v>798</c:v>
                </c:pt>
                <c:pt idx="7">
                  <c:v>886</c:v>
                </c:pt>
                <c:pt idx="8">
                  <c:v>914</c:v>
                </c:pt>
                <c:pt idx="9">
                  <c:v>1115</c:v>
                </c:pt>
                <c:pt idx="10">
                  <c:v>1129</c:v>
                </c:pt>
                <c:pt idx="11">
                  <c:v>1316</c:v>
                </c:pt>
                <c:pt idx="12">
                  <c:v>1575</c:v>
                </c:pt>
                <c:pt idx="13">
                  <c:v>2042</c:v>
                </c:pt>
                <c:pt idx="14">
                  <c:v>2564</c:v>
                </c:pt>
                <c:pt idx="15">
                  <c:v>2617</c:v>
                </c:pt>
                <c:pt idx="16">
                  <c:v>2621</c:v>
                </c:pt>
                <c:pt idx="17">
                  <c:v>4050</c:v>
                </c:pt>
                <c:pt idx="18">
                  <c:v>4959</c:v>
                </c:pt>
                <c:pt idx="19">
                  <c:v>5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dLbl>
              <c:idx val="0"/>
              <c:layout>
                <c:manualLayout>
                  <c:x val="-6.6637710044778961E-2"/>
                  <c:y val="0.13065196096138848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8C7-4A99-9A89-883E6BAA4388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8.6722027223696596E-2</c:v>
                </c:pt>
                <c:pt idx="1">
                  <c:v>0.91327797277630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711619089571842E-2"/>
          <c:y val="2.1490132932739322E-2"/>
          <c:w val="0.79863443642971188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3443</c:v>
                </c:pt>
                <c:pt idx="1">
                  <c:v>1032</c:v>
                </c:pt>
                <c:pt idx="2">
                  <c:v>1853</c:v>
                </c:pt>
                <c:pt idx="3">
                  <c:v>150</c:v>
                </c:pt>
                <c:pt idx="4">
                  <c:v>2917</c:v>
                </c:pt>
                <c:pt idx="5">
                  <c:v>1071</c:v>
                </c:pt>
                <c:pt idx="6">
                  <c:v>2155</c:v>
                </c:pt>
                <c:pt idx="7">
                  <c:v>2212</c:v>
                </c:pt>
                <c:pt idx="8">
                  <c:v>2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120-45FD-A11A-01D1623A83B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120-45FD-A11A-01D1623A83B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120-45FD-A11A-01D1623A83B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120-45FD-A11A-01D1623A83B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120-45FD-A11A-01D1623A83B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 и страхование</c:v>
                </c:pt>
                <c:pt idx="1">
                  <c:v>Информация и связь</c:v>
                </c:pt>
                <c:pt idx="2">
                  <c:v>Операции с недвижимостью</c:v>
                </c:pt>
                <c:pt idx="3">
                  <c:v>Проф. и научная деятельность</c:v>
                </c:pt>
                <c:pt idx="4">
                  <c:v>Электро- и энергоснабжение</c:v>
                </c:pt>
                <c:pt idx="5">
                  <c:v>Услуги по проживанию и питанию</c:v>
                </c:pt>
                <c:pt idx="6">
                  <c:v>Водоснабжение и удаление отходов</c:v>
                </c:pt>
                <c:pt idx="7">
                  <c:v>Горнодобывающая промышленность</c:v>
                </c:pt>
                <c:pt idx="8">
                  <c:v>Прочие индивидуальные услуги</c:v>
                </c:pt>
                <c:pt idx="9">
                  <c:v>Искусство и развлечения</c:v>
                </c:pt>
                <c:pt idx="10">
                  <c:v>Адм. и вспом. обслуживание</c:v>
                </c:pt>
                <c:pt idx="11">
                  <c:v>Транспорт и складирование</c:v>
                </c:pt>
                <c:pt idx="12">
                  <c:v>Строительство </c:v>
                </c:pt>
                <c:pt idx="13">
                  <c:v>Обрабатывающая промышленность </c:v>
                </c:pt>
                <c:pt idx="14">
                  <c:v>Торговля</c:v>
                </c:pt>
                <c:pt idx="15">
                  <c:v>Сельское хозяйство</c:v>
                </c:pt>
                <c:pt idx="16">
                  <c:v>Гос. управление и соц. обеспечение</c:v>
                </c:pt>
                <c:pt idx="17">
                  <c:v>Здравоохран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5.0999999999999997E-2</c:v>
                </c:pt>
                <c:pt idx="1">
                  <c:v>0.13600000000000001</c:v>
                </c:pt>
                <c:pt idx="2">
                  <c:v>0.36</c:v>
                </c:pt>
                <c:pt idx="3">
                  <c:v>0.45500000000000002</c:v>
                </c:pt>
                <c:pt idx="4">
                  <c:v>0.60299999999999998</c:v>
                </c:pt>
                <c:pt idx="5">
                  <c:v>0.72199999999999998</c:v>
                </c:pt>
                <c:pt idx="6">
                  <c:v>0.77300000000000002</c:v>
                </c:pt>
                <c:pt idx="7">
                  <c:v>0.88200000000000001</c:v>
                </c:pt>
                <c:pt idx="8">
                  <c:v>1.115</c:v>
                </c:pt>
                <c:pt idx="9">
                  <c:v>1.4039999999999999</c:v>
                </c:pt>
                <c:pt idx="10">
                  <c:v>1.7949999999999999</c:v>
                </c:pt>
                <c:pt idx="11">
                  <c:v>1.92</c:v>
                </c:pt>
                <c:pt idx="12">
                  <c:v>3.21</c:v>
                </c:pt>
                <c:pt idx="13">
                  <c:v>3.55</c:v>
                </c:pt>
                <c:pt idx="14">
                  <c:v>3.6779999999999999</c:v>
                </c:pt>
                <c:pt idx="15">
                  <c:v>4.2619999999999996</c:v>
                </c:pt>
                <c:pt idx="16">
                  <c:v>4.952</c:v>
                </c:pt>
                <c:pt idx="17">
                  <c:v>5.0049999999999999</c:v>
                </c:pt>
                <c:pt idx="18">
                  <c:v>17.58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120-45FD-A11A-01D1623A83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C2-4AF7-ACA2-EF37C82A0EF0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C2-4AF7-ACA2-EF37C82A0EF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7294041401395297</c:v>
                </c:pt>
                <c:pt idx="1">
                  <c:v>0.727059585986047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C2-4AF7-ACA2-EF37C82A0EF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D75-4E05-80CC-FF2AA146F62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D75-4E05-80CC-FF2AA146F62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D75-4E05-80CC-FF2AA146F62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D75-4E05-80CC-FF2AA146F62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D75-4E05-80CC-FF2AA146F62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4617</c:v>
                </c:pt>
                <c:pt idx="1">
                  <c:v>6313</c:v>
                </c:pt>
                <c:pt idx="2">
                  <c:v>5016</c:v>
                </c:pt>
                <c:pt idx="3">
                  <c:v>1165</c:v>
                </c:pt>
                <c:pt idx="4">
                  <c:v>5331</c:v>
                </c:pt>
                <c:pt idx="5">
                  <c:v>1595</c:v>
                </c:pt>
                <c:pt idx="6">
                  <c:v>4523</c:v>
                </c:pt>
                <c:pt idx="7">
                  <c:v>12184</c:v>
                </c:pt>
                <c:pt idx="8">
                  <c:v>17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D75-4E05-80CC-FF2AA146F62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1245239946077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462-4557-B6DA-04CAA0EDC3D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462-4557-B6DA-04CAA0EDC3D3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174-4AF5-89FD-5A5DE823A2EA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174-4AF5-89FD-5A5DE823A2EA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174-4AF5-89FD-5A5DE823A2E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 и страхование</c:v>
                </c:pt>
                <c:pt idx="1">
                  <c:v>Информация и связь</c:v>
                </c:pt>
                <c:pt idx="2">
                  <c:v>Операции с недвижимостью</c:v>
                </c:pt>
                <c:pt idx="3">
                  <c:v>Горнодобывающая промышленность</c:v>
                </c:pt>
                <c:pt idx="4">
                  <c:v>Водоснабжение и удаление отходов</c:v>
                </c:pt>
                <c:pt idx="5">
                  <c:v>Проф. и научная деятельность</c:v>
                </c:pt>
                <c:pt idx="6">
                  <c:v>Услуги по проживанию и питанию</c:v>
                </c:pt>
                <c:pt idx="7">
                  <c:v>Искусство и развлечения</c:v>
                </c:pt>
                <c:pt idx="8">
                  <c:v>Электро- и энергоснабжение</c:v>
                </c:pt>
                <c:pt idx="9">
                  <c:v>Прочие индивидуальные услуги</c:v>
                </c:pt>
                <c:pt idx="10">
                  <c:v>Транспорт и складирование</c:v>
                </c:pt>
                <c:pt idx="11">
                  <c:v>Адм. и вспом. обслуживание</c:v>
                </c:pt>
                <c:pt idx="12">
                  <c:v>Гос. управление и соц. обеспечение</c:v>
                </c:pt>
                <c:pt idx="13">
                  <c:v>Строительство </c:v>
                </c:pt>
                <c:pt idx="14">
                  <c:v>Торговля</c:v>
                </c:pt>
                <c:pt idx="15">
                  <c:v>Сельское хозяйство</c:v>
                </c:pt>
                <c:pt idx="16">
                  <c:v>Обрабатывающая промышленность </c:v>
                </c:pt>
                <c:pt idx="17">
                  <c:v>Здравоохран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13.358000000000001</c:v>
                </c:pt>
                <c:pt idx="1">
                  <c:v>17.823</c:v>
                </c:pt>
                <c:pt idx="2">
                  <c:v>19.395</c:v>
                </c:pt>
                <c:pt idx="3">
                  <c:v>25.158000000000001</c:v>
                </c:pt>
                <c:pt idx="4">
                  <c:v>33.557000000000002</c:v>
                </c:pt>
                <c:pt idx="5">
                  <c:v>33.871000000000002</c:v>
                </c:pt>
                <c:pt idx="6">
                  <c:v>33.914000000000001</c:v>
                </c:pt>
                <c:pt idx="7">
                  <c:v>55.741999999999997</c:v>
                </c:pt>
                <c:pt idx="8">
                  <c:v>59.277000000000001</c:v>
                </c:pt>
                <c:pt idx="9">
                  <c:v>62.280999999999999</c:v>
                </c:pt>
                <c:pt idx="10">
                  <c:v>69.736000000000004</c:v>
                </c:pt>
                <c:pt idx="11">
                  <c:v>75.308999999999997</c:v>
                </c:pt>
                <c:pt idx="12">
                  <c:v>136.23699999999999</c:v>
                </c:pt>
                <c:pt idx="13">
                  <c:v>146.46</c:v>
                </c:pt>
                <c:pt idx="14">
                  <c:v>162.52600000000001</c:v>
                </c:pt>
                <c:pt idx="15">
                  <c:v>168.39400000000001</c:v>
                </c:pt>
                <c:pt idx="16">
                  <c:v>179.679</c:v>
                </c:pt>
                <c:pt idx="17">
                  <c:v>204.172</c:v>
                </c:pt>
                <c:pt idx="18">
                  <c:v>628.441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62-4557-B6DA-04CAA0EDC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DD0-4748-B7E2-6FD807D26DE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DD0-4748-B7E2-6FD807D26DE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FDD0-4748-B7E2-6FD807D26DE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DD0-4748-B7E2-6FD807D26DE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FDD0-4748-B7E2-6FD807D26DE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625</c:v>
                </c:pt>
                <c:pt idx="1">
                  <c:v>9.7330000000000005</c:v>
                </c:pt>
                <c:pt idx="2">
                  <c:v>15.961</c:v>
                </c:pt>
                <c:pt idx="3">
                  <c:v>15.13</c:v>
                </c:pt>
                <c:pt idx="4">
                  <c:v>7.4029999999999996</c:v>
                </c:pt>
                <c:pt idx="5">
                  <c:v>10.375</c:v>
                </c:pt>
                <c:pt idx="6">
                  <c:v>20.149999999999999</c:v>
                </c:pt>
                <c:pt idx="7">
                  <c:v>13.8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DD0-4748-B7E2-6FD807D26DE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69A-46BC-BF35-8F5521776B5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69A-46BC-BF35-8F5521776B5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69A-46BC-BF35-8F5521776B5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Горнодобывающая промышленность</c:v>
                </c:pt>
                <c:pt idx="1">
                  <c:v>Водоснабжение и удаление отходов</c:v>
                </c:pt>
                <c:pt idx="2">
                  <c:v>Информация и связь</c:v>
                </c:pt>
                <c:pt idx="3">
                  <c:v>Адм. и вспом. обслуживание</c:v>
                </c:pt>
                <c:pt idx="4">
                  <c:v>Операции с недвижимостью</c:v>
                </c:pt>
                <c:pt idx="5">
                  <c:v>Проф. и научная деятельность</c:v>
                </c:pt>
                <c:pt idx="6">
                  <c:v>Транспорт и складирование</c:v>
                </c:pt>
                <c:pt idx="7">
                  <c:v>Услуги по проживанию и питанию</c:v>
                </c:pt>
                <c:pt idx="8">
                  <c:v>Искусство и развлечения</c:v>
                </c:pt>
                <c:pt idx="9">
                  <c:v>Прочие индивидуальные услуги</c:v>
                </c:pt>
                <c:pt idx="10">
                  <c:v>Строительство </c:v>
                </c:pt>
                <c:pt idx="11">
                  <c:v>Гос. управление и соц. обеспечение</c:v>
                </c:pt>
                <c:pt idx="12">
                  <c:v>Торговля</c:v>
                </c:pt>
                <c:pt idx="13">
                  <c:v>Обрабатывающая промышленность </c:v>
                </c:pt>
                <c:pt idx="14">
                  <c:v>Здравоохранение</c:v>
                </c:pt>
                <c:pt idx="15">
                  <c:v>Сельское хозяйство</c:v>
                </c:pt>
                <c:pt idx="16">
                  <c:v>Образование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0.218</c:v>
                </c:pt>
                <c:pt idx="1">
                  <c:v>0.33500000000000002</c:v>
                </c:pt>
                <c:pt idx="2">
                  <c:v>0.39800000000000002</c:v>
                </c:pt>
                <c:pt idx="3">
                  <c:v>0.40799999999999997</c:v>
                </c:pt>
                <c:pt idx="4">
                  <c:v>0.45</c:v>
                </c:pt>
                <c:pt idx="5">
                  <c:v>0.45200000000000001</c:v>
                </c:pt>
                <c:pt idx="6">
                  <c:v>0.63100000000000001</c:v>
                </c:pt>
                <c:pt idx="7">
                  <c:v>0.68400000000000005</c:v>
                </c:pt>
                <c:pt idx="8">
                  <c:v>1.0569999999999999</c:v>
                </c:pt>
                <c:pt idx="9">
                  <c:v>1.575</c:v>
                </c:pt>
                <c:pt idx="10">
                  <c:v>2.4300000000000002</c:v>
                </c:pt>
                <c:pt idx="11">
                  <c:v>2.7869999999999999</c:v>
                </c:pt>
                <c:pt idx="12">
                  <c:v>3.28</c:v>
                </c:pt>
                <c:pt idx="13">
                  <c:v>3.7269999999999999</c:v>
                </c:pt>
                <c:pt idx="14">
                  <c:v>3.7879999999999998</c:v>
                </c:pt>
                <c:pt idx="15">
                  <c:v>8.923</c:v>
                </c:pt>
                <c:pt idx="16">
                  <c:v>20.59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69A-46BC-BF35-8F5521776B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17A-4A4F-9533-E654F0D0FCE9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17A-4A4F-9533-E654F0D0FCE9}"/>
              </c:ext>
            </c:extLst>
          </c:dPt>
          <c:dLbls>
            <c:dLbl>
              <c:idx val="0"/>
              <c:layout>
                <c:manualLayout>
                  <c:x val="-0.10899348967723754"/>
                  <c:y val="0.1568678802662921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7A-4A4F-9533-E654F0D0FCE9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3608016527329947</c:v>
                </c:pt>
                <c:pt idx="1">
                  <c:v>0.86391983472670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17A-4A4F-9533-E654F0D0FC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6FD-407D-88A4-813BAC987470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6FD-407D-88A4-813BAC987470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6FD-407D-88A4-813BAC987470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6FD-407D-88A4-813BAC987470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6FD-407D-88A4-813BAC987470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9151</c:v>
                </c:pt>
                <c:pt idx="1">
                  <c:v>2166</c:v>
                </c:pt>
                <c:pt idx="2">
                  <c:v>2575</c:v>
                </c:pt>
                <c:pt idx="3">
                  <c:v>1209</c:v>
                </c:pt>
                <c:pt idx="4">
                  <c:v>3369</c:v>
                </c:pt>
                <c:pt idx="5">
                  <c:v>1081</c:v>
                </c:pt>
                <c:pt idx="6">
                  <c:v>3018</c:v>
                </c:pt>
                <c:pt idx="7">
                  <c:v>16882</c:v>
                </c:pt>
                <c:pt idx="8">
                  <c:v>23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6FD-407D-88A4-813BAC9874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017-4287-9947-C4BD0041935F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017-4287-9947-C4BD0041935F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017-4287-9947-C4BD0041935F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017-4287-9947-C4BD0041935F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017-4287-9947-C4BD0041935F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8.2739999999999991</c:v>
                </c:pt>
                <c:pt idx="1">
                  <c:v>7.9059999999999997</c:v>
                </c:pt>
                <c:pt idx="2">
                  <c:v>12.99</c:v>
                </c:pt>
                <c:pt idx="3">
                  <c:v>12.54</c:v>
                </c:pt>
                <c:pt idx="4">
                  <c:v>11.287000000000001</c:v>
                </c:pt>
                <c:pt idx="5">
                  <c:v>13.196999999999999</c:v>
                </c:pt>
                <c:pt idx="6">
                  <c:v>19.074999999999999</c:v>
                </c:pt>
                <c:pt idx="7">
                  <c:v>14.0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017-4287-9947-C4BD004193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54B-4BB4-90C3-7A6EBBB697E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54B-4BB4-90C3-7A6EBBB697E9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54B-4BB4-90C3-7A6EBBB697E9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54B-4BB4-90C3-7A6EBBB697E9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Информация и связь</c:v>
                </c:pt>
                <c:pt idx="1">
                  <c:v>Операции с недвижимостью</c:v>
                </c:pt>
                <c:pt idx="2">
                  <c:v>Водоснабжение и удаление отходов</c:v>
                </c:pt>
                <c:pt idx="3">
                  <c:v>Горнодобывающая промышленность</c:v>
                </c:pt>
                <c:pt idx="4">
                  <c:v>Электро- и энергоснабжение</c:v>
                </c:pt>
                <c:pt idx="5">
                  <c:v>Сельское хозяйство</c:v>
                </c:pt>
                <c:pt idx="6">
                  <c:v>Проф. и научная деятельность</c:v>
                </c:pt>
                <c:pt idx="7">
                  <c:v>Искусство и развлечения</c:v>
                </c:pt>
                <c:pt idx="8">
                  <c:v>Транспорт и складирование</c:v>
                </c:pt>
                <c:pt idx="9">
                  <c:v>Обрабатывающая промышленность </c:v>
                </c:pt>
                <c:pt idx="10">
                  <c:v>Услуги по проживанию и питанию</c:v>
                </c:pt>
                <c:pt idx="11">
                  <c:v>Гос. управление и соц. обеспечение</c:v>
                </c:pt>
                <c:pt idx="12">
                  <c:v>Здравоохранение</c:v>
                </c:pt>
                <c:pt idx="13">
                  <c:v>Торговля</c:v>
                </c:pt>
                <c:pt idx="14">
                  <c:v>Прочие индивидуальные услуги</c:v>
                </c:pt>
                <c:pt idx="15">
                  <c:v>Адм. и вспом. обслуживание</c:v>
                </c:pt>
                <c:pt idx="16">
                  <c:v>Строительство </c:v>
                </c:pt>
                <c:pt idx="17">
                  <c:v>Образование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9.7000000000000003E-2</c:v>
                </c:pt>
                <c:pt idx="1">
                  <c:v>0.31</c:v>
                </c:pt>
                <c:pt idx="2">
                  <c:v>0.34200000000000003</c:v>
                </c:pt>
                <c:pt idx="3">
                  <c:v>0.51600000000000001</c:v>
                </c:pt>
                <c:pt idx="4">
                  <c:v>0.59799999999999998</c:v>
                </c:pt>
                <c:pt idx="5">
                  <c:v>0.69099999999999995</c:v>
                </c:pt>
                <c:pt idx="6">
                  <c:v>1.115</c:v>
                </c:pt>
                <c:pt idx="7">
                  <c:v>1.1850000000000001</c:v>
                </c:pt>
                <c:pt idx="8">
                  <c:v>1.492</c:v>
                </c:pt>
                <c:pt idx="9">
                  <c:v>1.7490000000000001</c:v>
                </c:pt>
                <c:pt idx="10">
                  <c:v>1.8420000000000001</c:v>
                </c:pt>
                <c:pt idx="11">
                  <c:v>2.117</c:v>
                </c:pt>
                <c:pt idx="12">
                  <c:v>2.8719999999999999</c:v>
                </c:pt>
                <c:pt idx="13">
                  <c:v>4.9240000000000004</c:v>
                </c:pt>
                <c:pt idx="14">
                  <c:v>5.5060000000000002</c:v>
                </c:pt>
                <c:pt idx="15">
                  <c:v>7.3109999999999999</c:v>
                </c:pt>
                <c:pt idx="16">
                  <c:v>7.7389999999999999</c:v>
                </c:pt>
                <c:pt idx="17">
                  <c:v>17.2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54B-4BB4-90C3-7A6EBBB697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4FF-4BF3-9A17-9EAA2D5DA253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4FF-4BF3-9A17-9EAA2D5DA253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4589822747927434</c:v>
                </c:pt>
                <c:pt idx="1">
                  <c:v>0.75410177252072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4FF-4BF3-9A17-9EAA2D5DA2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BCD-4C9C-885F-D2BECA89B2B7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BCD-4C9C-885F-D2BECA89B2B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BCD-4C9C-885F-D2BECA89B2B7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BCD-4C9C-885F-D2BECA89B2B7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BBCD-4C9C-885F-D2BECA89B2B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6014</c:v>
                </c:pt>
                <c:pt idx="1">
                  <c:v>5299</c:v>
                </c:pt>
                <c:pt idx="2">
                  <c:v>7191</c:v>
                </c:pt>
                <c:pt idx="3">
                  <c:v>422</c:v>
                </c:pt>
                <c:pt idx="4">
                  <c:v>5161</c:v>
                </c:pt>
                <c:pt idx="5">
                  <c:v>2477</c:v>
                </c:pt>
                <c:pt idx="6">
                  <c:v>4376</c:v>
                </c:pt>
                <c:pt idx="7">
                  <c:v>14083</c:v>
                </c:pt>
                <c:pt idx="8">
                  <c:v>2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BCD-4C9C-885F-D2BECA89B2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340-458F-9A18-16026AC583D2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340-458F-9A18-16026AC583D2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340-458F-9A18-16026AC583D2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340-458F-9A18-16026AC583D2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340-458F-9A18-16026AC583D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0.597</c:v>
                </c:pt>
                <c:pt idx="1">
                  <c:v>11.798</c:v>
                </c:pt>
                <c:pt idx="2">
                  <c:v>15.34</c:v>
                </c:pt>
                <c:pt idx="3">
                  <c:v>16.192</c:v>
                </c:pt>
                <c:pt idx="4">
                  <c:v>11.481</c:v>
                </c:pt>
                <c:pt idx="5">
                  <c:v>9.9339999999999993</c:v>
                </c:pt>
                <c:pt idx="6">
                  <c:v>16.268999999999998</c:v>
                </c:pt>
                <c:pt idx="7">
                  <c:v>15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340-458F-9A18-16026AC583D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9C-4620-8556-09BC0940107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59C-4620-8556-09BC0940107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59C-4620-8556-09BC0940107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59C-4620-8556-09BC0940107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59C-4620-8556-09BC0940107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 и страхование</c:v>
                </c:pt>
                <c:pt idx="1">
                  <c:v>Информация и связь</c:v>
                </c:pt>
                <c:pt idx="2">
                  <c:v>Операции с недвижимостью</c:v>
                </c:pt>
                <c:pt idx="3">
                  <c:v>Прочие индивидуальные услуги</c:v>
                </c:pt>
                <c:pt idx="4">
                  <c:v>Горнодобывающая промышленность</c:v>
                </c:pt>
                <c:pt idx="5">
                  <c:v>Услуги по проживанию и питанию</c:v>
                </c:pt>
                <c:pt idx="6">
                  <c:v>Транспорт и складирование</c:v>
                </c:pt>
                <c:pt idx="7">
                  <c:v>Проф. и научная деятельность</c:v>
                </c:pt>
                <c:pt idx="8">
                  <c:v>Сельское хозяйство</c:v>
                </c:pt>
                <c:pt idx="9">
                  <c:v>Водоснабжение и удаление отходов</c:v>
                </c:pt>
                <c:pt idx="10">
                  <c:v>Адм. и вспом. обслуживание</c:v>
                </c:pt>
                <c:pt idx="11">
                  <c:v>Электро- и энергоснабжение</c:v>
                </c:pt>
                <c:pt idx="12">
                  <c:v>Обрабатывающая промышленность </c:v>
                </c:pt>
                <c:pt idx="13">
                  <c:v>Искусство и развлечения</c:v>
                </c:pt>
                <c:pt idx="14">
                  <c:v>Торговля</c:v>
                </c:pt>
                <c:pt idx="15">
                  <c:v>Гос. управление и соц. обеспечение</c:v>
                </c:pt>
                <c:pt idx="16">
                  <c:v>Строительство </c:v>
                </c:pt>
                <c:pt idx="17">
                  <c:v>Здравоохран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7.3999999999999996E-2</c:v>
                </c:pt>
                <c:pt idx="1">
                  <c:v>0.157</c:v>
                </c:pt>
                <c:pt idx="2">
                  <c:v>0.19900000000000001</c:v>
                </c:pt>
                <c:pt idx="3">
                  <c:v>0.42099999999999999</c:v>
                </c:pt>
                <c:pt idx="4">
                  <c:v>0.44700000000000001</c:v>
                </c:pt>
                <c:pt idx="5">
                  <c:v>0.56100000000000005</c:v>
                </c:pt>
                <c:pt idx="6">
                  <c:v>0.66700000000000004</c:v>
                </c:pt>
                <c:pt idx="7">
                  <c:v>0.73899999999999999</c:v>
                </c:pt>
                <c:pt idx="8">
                  <c:v>1.2410000000000001</c:v>
                </c:pt>
                <c:pt idx="9">
                  <c:v>1.339</c:v>
                </c:pt>
                <c:pt idx="10">
                  <c:v>1.431</c:v>
                </c:pt>
                <c:pt idx="11">
                  <c:v>1.722</c:v>
                </c:pt>
                <c:pt idx="12">
                  <c:v>2.0009999999999999</c:v>
                </c:pt>
                <c:pt idx="13">
                  <c:v>2.3879999999999999</c:v>
                </c:pt>
                <c:pt idx="14">
                  <c:v>3.0249999999999999</c:v>
                </c:pt>
                <c:pt idx="15">
                  <c:v>3.5739999999999998</c:v>
                </c:pt>
                <c:pt idx="16">
                  <c:v>4.3840000000000003</c:v>
                </c:pt>
                <c:pt idx="17">
                  <c:v>7.9610000000000003</c:v>
                </c:pt>
                <c:pt idx="18">
                  <c:v>21.062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59C-4620-8556-09BC094010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8750059607115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715-45D5-97F1-9555D2E747AB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D9D-4AE4-9539-0408E27DDB01}"/>
              </c:ext>
            </c:extLst>
          </c:dPt>
          <c:dPt>
            <c:idx val="9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715-45D5-97F1-9555D2E747AB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715-45D5-97F1-9555D2E747AB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715-45D5-97F1-9555D2E747A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Абай</c:v>
                </c:pt>
                <c:pt idx="2">
                  <c:v>Мангистауская</c:v>
                </c:pt>
                <c:pt idx="3">
                  <c:v>Жетысу</c:v>
                </c:pt>
                <c:pt idx="4">
                  <c:v>Кызылординская</c:v>
                </c:pt>
                <c:pt idx="5">
                  <c:v>Северо-Казахстанская</c:v>
                </c:pt>
                <c:pt idx="6">
                  <c:v>г. Шымкент</c:v>
                </c:pt>
                <c:pt idx="7">
                  <c:v>Акмолинская</c:v>
                </c:pt>
                <c:pt idx="8">
                  <c:v>Атырауская</c:v>
                </c:pt>
                <c:pt idx="9">
                  <c:v>Алматинская</c:v>
                </c:pt>
                <c:pt idx="10">
                  <c:v>Актюбинская</c:v>
                </c:pt>
                <c:pt idx="11">
                  <c:v>Западно-Казахстанская</c:v>
                </c:pt>
                <c:pt idx="12">
                  <c:v>Восточно-Казахстанская</c:v>
                </c:pt>
                <c:pt idx="13">
                  <c:v>Жамбылская</c:v>
                </c:pt>
                <c:pt idx="14">
                  <c:v>Костанайская</c:v>
                </c:pt>
                <c:pt idx="15">
                  <c:v>Павлодарская</c:v>
                </c:pt>
                <c:pt idx="16">
                  <c:v>Туркестанская</c:v>
                </c:pt>
                <c:pt idx="17">
                  <c:v>Карагандинская</c:v>
                </c:pt>
                <c:pt idx="18">
                  <c:v>г. Астана</c:v>
                </c:pt>
                <c:pt idx="19">
                  <c:v>г. Алматы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8.797999999999998</c:v>
                </c:pt>
                <c:pt idx="1">
                  <c:v>56.378999999999998</c:v>
                </c:pt>
                <c:pt idx="2">
                  <c:v>56.533999999999999</c:v>
                </c:pt>
                <c:pt idx="3">
                  <c:v>62.686999999999998</c:v>
                </c:pt>
                <c:pt idx="4">
                  <c:v>67.125</c:v>
                </c:pt>
                <c:pt idx="5">
                  <c:v>71.408000000000001</c:v>
                </c:pt>
                <c:pt idx="6">
                  <c:v>73.343999999999994</c:v>
                </c:pt>
                <c:pt idx="7">
                  <c:v>88.744</c:v>
                </c:pt>
                <c:pt idx="8">
                  <c:v>99.367999999999995</c:v>
                </c:pt>
                <c:pt idx="9">
                  <c:v>100.242</c:v>
                </c:pt>
                <c:pt idx="10">
                  <c:v>102.505</c:v>
                </c:pt>
                <c:pt idx="11">
                  <c:v>107.321</c:v>
                </c:pt>
                <c:pt idx="12">
                  <c:v>114.768</c:v>
                </c:pt>
                <c:pt idx="13">
                  <c:v>122.29300000000001</c:v>
                </c:pt>
                <c:pt idx="14">
                  <c:v>124.58199999999999</c:v>
                </c:pt>
                <c:pt idx="15">
                  <c:v>126.503</c:v>
                </c:pt>
                <c:pt idx="16">
                  <c:v>157.262</c:v>
                </c:pt>
                <c:pt idx="17">
                  <c:v>164.11099999999999</c:v>
                </c:pt>
                <c:pt idx="18">
                  <c:v>192.24600000000001</c:v>
                </c:pt>
                <c:pt idx="19">
                  <c:v>209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462-4557-B6DA-04CAA0EDC3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04-4BA4-B8F5-FD381EAD26A4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04-4BA4-B8F5-FD381EAD26A4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6233284638723453</c:v>
                </c:pt>
                <c:pt idx="1">
                  <c:v>0.73766715361276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04-4BA4-B8F5-FD381EAD26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518F-4364-9813-964E3D2F12C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518F-4364-9813-964E3D2F12C5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518F-4364-9813-964E3D2F12C5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518F-4364-9813-964E3D2F12C5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518F-4364-9813-964E3D2F12C5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456</c:v>
                </c:pt>
                <c:pt idx="1">
                  <c:v>7181</c:v>
                </c:pt>
                <c:pt idx="2">
                  <c:v>5184</c:v>
                </c:pt>
                <c:pt idx="3">
                  <c:v>363</c:v>
                </c:pt>
                <c:pt idx="4">
                  <c:v>5027</c:v>
                </c:pt>
                <c:pt idx="5">
                  <c:v>1767</c:v>
                </c:pt>
                <c:pt idx="6">
                  <c:v>5150</c:v>
                </c:pt>
                <c:pt idx="7">
                  <c:v>16087</c:v>
                </c:pt>
                <c:pt idx="8">
                  <c:v>21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18F-4364-9813-964E3D2F12C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7DC-4667-A210-7BB090C9FC9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7DC-4667-A210-7BB090C9FC9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DC-4667-A210-7BB090C9FC9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7DC-4667-A210-7BB090C9FC9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7DC-4667-A210-7BB090C9FC9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9.7810000000000006</c:v>
                </c:pt>
                <c:pt idx="1">
                  <c:v>12.525</c:v>
                </c:pt>
                <c:pt idx="2">
                  <c:v>17.969000000000001</c:v>
                </c:pt>
                <c:pt idx="3">
                  <c:v>19.805</c:v>
                </c:pt>
                <c:pt idx="4">
                  <c:v>10.83</c:v>
                </c:pt>
                <c:pt idx="5">
                  <c:v>15.288</c:v>
                </c:pt>
                <c:pt idx="6">
                  <c:v>19.149000000000001</c:v>
                </c:pt>
                <c:pt idx="7">
                  <c:v>16.946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7DC-4667-A210-7BB090C9FC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C8-4B8E-BB55-D5AC6E363AB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C8-4B8E-BB55-D5AC6E363AB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C8-4B8E-BB55-D5AC6E363AB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C8-4B8E-BB55-D5AC6E363AB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CC8-4B8E-BB55-D5AC6E363AB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Горнодобывающая промышленность</c:v>
                </c:pt>
                <c:pt idx="1">
                  <c:v>Информация и связь</c:v>
                </c:pt>
                <c:pt idx="2">
                  <c:v>Финансы и страхование</c:v>
                </c:pt>
                <c:pt idx="3">
                  <c:v>Операции с недвижимостью</c:v>
                </c:pt>
                <c:pt idx="4">
                  <c:v>Услуги по проживанию и питанию</c:v>
                </c:pt>
                <c:pt idx="5">
                  <c:v>Электро- и энергоснабжение</c:v>
                </c:pt>
                <c:pt idx="6">
                  <c:v>Адм. и вспом. обслуживание</c:v>
                </c:pt>
                <c:pt idx="7">
                  <c:v>Водоснабжение и удаление отходов</c:v>
                </c:pt>
                <c:pt idx="8">
                  <c:v>Транспорт и складирование</c:v>
                </c:pt>
                <c:pt idx="9">
                  <c:v>Проф. и научная деятельность</c:v>
                </c:pt>
                <c:pt idx="10">
                  <c:v>Прочие индивидуальные услуги</c:v>
                </c:pt>
                <c:pt idx="11">
                  <c:v>Искусство и развлечения</c:v>
                </c:pt>
                <c:pt idx="12">
                  <c:v>Строительство </c:v>
                </c:pt>
                <c:pt idx="13">
                  <c:v>Обрабатывающая промышленность </c:v>
                </c:pt>
                <c:pt idx="14">
                  <c:v>Гос. управление и соц. обеспечение</c:v>
                </c:pt>
                <c:pt idx="15">
                  <c:v>Здравоохранение</c:v>
                </c:pt>
                <c:pt idx="16">
                  <c:v>Торговля</c:v>
                </c:pt>
                <c:pt idx="17">
                  <c:v>Сельское хозяйство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8.4000000000000005E-2</c:v>
                </c:pt>
                <c:pt idx="1">
                  <c:v>0.111</c:v>
                </c:pt>
                <c:pt idx="2">
                  <c:v>0.128</c:v>
                </c:pt>
                <c:pt idx="3">
                  <c:v>0.27300000000000002</c:v>
                </c:pt>
                <c:pt idx="4">
                  <c:v>0.56100000000000005</c:v>
                </c:pt>
                <c:pt idx="5">
                  <c:v>0.81899999999999995</c:v>
                </c:pt>
                <c:pt idx="6">
                  <c:v>0.86799999999999999</c:v>
                </c:pt>
                <c:pt idx="7">
                  <c:v>0.872</c:v>
                </c:pt>
                <c:pt idx="8">
                  <c:v>1.0069999999999999</c:v>
                </c:pt>
                <c:pt idx="9">
                  <c:v>1.2010000000000001</c:v>
                </c:pt>
                <c:pt idx="10">
                  <c:v>1.3160000000000001</c:v>
                </c:pt>
                <c:pt idx="11">
                  <c:v>1.3779999999999999</c:v>
                </c:pt>
                <c:pt idx="12">
                  <c:v>2.3519999999999999</c:v>
                </c:pt>
                <c:pt idx="13">
                  <c:v>2.6150000000000002</c:v>
                </c:pt>
                <c:pt idx="14">
                  <c:v>4.0250000000000004</c:v>
                </c:pt>
                <c:pt idx="15">
                  <c:v>5.2469999999999999</c:v>
                </c:pt>
                <c:pt idx="16">
                  <c:v>7.4720000000000004</c:v>
                </c:pt>
                <c:pt idx="17">
                  <c:v>12.62</c:v>
                </c:pt>
                <c:pt idx="18">
                  <c:v>19.263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CC8-4B8E-BB55-D5AC6E363A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22-413C-BCE4-1A8ED9CC436C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A22-413C-BCE4-1A8ED9CC436C}"/>
              </c:ext>
            </c:extLst>
          </c:dPt>
          <c:dLbls>
            <c:dLbl>
              <c:idx val="0"/>
              <c:layout>
                <c:manualLayout>
                  <c:x val="-0.11460626643151704"/>
                  <c:y val="0.1930288497293943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22-413C-BCE4-1A8ED9CC436C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5104560140163631</c:v>
                </c:pt>
                <c:pt idx="1">
                  <c:v>0.848954398598363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A22-413C-BCE4-1A8ED9CC43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7A9-44D0-AAD1-830174B3B79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7A9-44D0-AAD1-830174B3B79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7A9-44D0-AAD1-830174B3B79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7A9-44D0-AAD1-830174B3B79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7A9-44D0-AAD1-830174B3B79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8642</c:v>
                </c:pt>
                <c:pt idx="1">
                  <c:v>3186</c:v>
                </c:pt>
                <c:pt idx="2">
                  <c:v>3636</c:v>
                </c:pt>
                <c:pt idx="3">
                  <c:v>623</c:v>
                </c:pt>
                <c:pt idx="4">
                  <c:v>4168</c:v>
                </c:pt>
                <c:pt idx="5">
                  <c:v>1657</c:v>
                </c:pt>
                <c:pt idx="6">
                  <c:v>4552</c:v>
                </c:pt>
                <c:pt idx="7">
                  <c:v>13255</c:v>
                </c:pt>
                <c:pt idx="8">
                  <c:v>2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7A9-44D0-AAD1-830174B3B7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4FB-4F9E-8F05-A8AAD3C7213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4FB-4F9E-8F05-A8AAD3C7213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4FB-4F9E-8F05-A8AAD3C7213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4FB-4F9E-8F05-A8AAD3C7213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4FB-4F9E-8F05-A8AAD3C7213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.0869999999999997</c:v>
                </c:pt>
                <c:pt idx="1">
                  <c:v>8.93</c:v>
                </c:pt>
                <c:pt idx="2">
                  <c:v>8.875</c:v>
                </c:pt>
                <c:pt idx="3">
                  <c:v>8.4580000000000002</c:v>
                </c:pt>
                <c:pt idx="4">
                  <c:v>6.4080000000000004</c:v>
                </c:pt>
                <c:pt idx="5">
                  <c:v>5.5579999999999998</c:v>
                </c:pt>
                <c:pt idx="6">
                  <c:v>10.628</c:v>
                </c:pt>
                <c:pt idx="7">
                  <c:v>8.743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4FB-4F9E-8F05-A8AAD3C721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724-4D16-8061-A9DAC6A7F13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724-4D16-8061-A9DAC6A7F13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724-4D16-8061-A9DAC6A7F13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724-4D16-8061-A9DAC6A7F13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724-4D16-8061-A9DAC6A7F13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Горнодобывающая промышленность</c:v>
                </c:pt>
                <c:pt idx="1">
                  <c:v>Финансы и страхование</c:v>
                </c:pt>
                <c:pt idx="2">
                  <c:v>Информация и связь</c:v>
                </c:pt>
                <c:pt idx="3">
                  <c:v>Электро- и энергоснабжение</c:v>
                </c:pt>
                <c:pt idx="4">
                  <c:v>Операции с недвижимостью</c:v>
                </c:pt>
                <c:pt idx="5">
                  <c:v>Проф. и научная деятельность</c:v>
                </c:pt>
                <c:pt idx="6">
                  <c:v>Адм. и вспом. обслуживание</c:v>
                </c:pt>
                <c:pt idx="7">
                  <c:v>Водоснабжение и удаление отходов</c:v>
                </c:pt>
                <c:pt idx="8">
                  <c:v>Транспорт и складирование</c:v>
                </c:pt>
                <c:pt idx="9">
                  <c:v>Услуги по проживанию и питанию</c:v>
                </c:pt>
                <c:pt idx="10">
                  <c:v>Искусство и развлечения</c:v>
                </c:pt>
                <c:pt idx="11">
                  <c:v>Торговля</c:v>
                </c:pt>
                <c:pt idx="12">
                  <c:v>Строительство </c:v>
                </c:pt>
                <c:pt idx="13">
                  <c:v>Прочие индивидуальные услуги</c:v>
                </c:pt>
                <c:pt idx="14">
                  <c:v>Обрабатывающая промышленность </c:v>
                </c:pt>
                <c:pt idx="15">
                  <c:v>Гос. управление и соц. обеспечение</c:v>
                </c:pt>
                <c:pt idx="16">
                  <c:v>Здравоохранение</c:v>
                </c:pt>
                <c:pt idx="17">
                  <c:v>Сельское хозяйство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7.1999999999999995E-2</c:v>
                </c:pt>
                <c:pt idx="1">
                  <c:v>8.6999999999999994E-2</c:v>
                </c:pt>
                <c:pt idx="2">
                  <c:v>0.15</c:v>
                </c:pt>
                <c:pt idx="3">
                  <c:v>0.17299999999999999</c:v>
                </c:pt>
                <c:pt idx="4">
                  <c:v>0.215</c:v>
                </c:pt>
                <c:pt idx="5">
                  <c:v>0.25600000000000001</c:v>
                </c:pt>
                <c:pt idx="6">
                  <c:v>0.26200000000000001</c:v>
                </c:pt>
                <c:pt idx="7">
                  <c:v>0.315</c:v>
                </c:pt>
                <c:pt idx="8">
                  <c:v>0.36799999999999999</c:v>
                </c:pt>
                <c:pt idx="9">
                  <c:v>0.373</c:v>
                </c:pt>
                <c:pt idx="10">
                  <c:v>0.59199999999999997</c:v>
                </c:pt>
                <c:pt idx="11">
                  <c:v>0.76200000000000001</c:v>
                </c:pt>
                <c:pt idx="12">
                  <c:v>0.84799999999999998</c:v>
                </c:pt>
                <c:pt idx="13">
                  <c:v>0.91400000000000003</c:v>
                </c:pt>
                <c:pt idx="14">
                  <c:v>0.99099999999999999</c:v>
                </c:pt>
                <c:pt idx="15">
                  <c:v>2.3879999999999999</c:v>
                </c:pt>
                <c:pt idx="16">
                  <c:v>4.6139999999999999</c:v>
                </c:pt>
                <c:pt idx="17">
                  <c:v>5.7409999999999997</c:v>
                </c:pt>
                <c:pt idx="18">
                  <c:v>12.21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724-4D16-8061-A9DAC6A7F13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A21-45D0-9F3C-D0746182840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A21-45D0-9F3C-D0746182840D}"/>
              </c:ext>
            </c:extLst>
          </c:dPt>
          <c:dLbls>
            <c:dLbl>
              <c:idx val="0"/>
              <c:layout>
                <c:manualLayout>
                  <c:x val="-0.1166396769096619"/>
                  <c:y val="0.17784114693451705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CA21-45D0-9F3C-D0746182840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5655614768484538</c:v>
                </c:pt>
                <c:pt idx="1">
                  <c:v>0.843443852315154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A21-45D0-9F3C-D074618284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F68-492B-B45A-7E0462CFAB4C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F68-492B-B45A-7E0462CFAB4C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F68-492B-B45A-7E0462CFAB4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F68-492B-B45A-7E0462CFAB4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F68-492B-B45A-7E0462CFAB4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801</c:v>
                </c:pt>
                <c:pt idx="1">
                  <c:v>1396</c:v>
                </c:pt>
                <c:pt idx="2">
                  <c:v>1675</c:v>
                </c:pt>
                <c:pt idx="3">
                  <c:v>746</c:v>
                </c:pt>
                <c:pt idx="4">
                  <c:v>2557</c:v>
                </c:pt>
                <c:pt idx="5">
                  <c:v>1141</c:v>
                </c:pt>
                <c:pt idx="6">
                  <c:v>2715</c:v>
                </c:pt>
                <c:pt idx="7">
                  <c:v>9811</c:v>
                </c:pt>
                <c:pt idx="8">
                  <c:v>14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F68-492B-B45A-7E0462CFA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1245239946077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816-4404-A467-37B73C71862A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816-4404-A467-37B73C71862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816-4404-A467-37B73C71862A}"/>
              </c:ext>
            </c:extLst>
          </c:dPt>
          <c:dPt>
            <c:idx val="1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816-4404-A467-37B73C71862A}"/>
              </c:ext>
            </c:extLst>
          </c:dPt>
          <c:dPt>
            <c:idx val="18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816-4404-A467-37B73C71862A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Операции с недвижимостью</c:v>
                </c:pt>
                <c:pt idx="1">
                  <c:v>Финансы и страхование</c:v>
                </c:pt>
                <c:pt idx="2">
                  <c:v>Услуги по проживанию и питанию</c:v>
                </c:pt>
                <c:pt idx="3">
                  <c:v>Информация и связь</c:v>
                </c:pt>
                <c:pt idx="4">
                  <c:v>Горнодобывающая промышленность</c:v>
                </c:pt>
                <c:pt idx="5">
                  <c:v>Водоснабжение и удаление отходов</c:v>
                </c:pt>
                <c:pt idx="6">
                  <c:v>Прочие индивидуальные услуги</c:v>
                </c:pt>
                <c:pt idx="7">
                  <c:v>Проф. и научная деятельность</c:v>
                </c:pt>
                <c:pt idx="8">
                  <c:v>Искусство и развлечения</c:v>
                </c:pt>
                <c:pt idx="9">
                  <c:v>Сельское хозяйство</c:v>
                </c:pt>
                <c:pt idx="10">
                  <c:v>Электро- и энергоснабжение</c:v>
                </c:pt>
                <c:pt idx="11">
                  <c:v>Адм. и вспом. обслуживание</c:v>
                </c:pt>
                <c:pt idx="12">
                  <c:v>Транспорт и складирование</c:v>
                </c:pt>
                <c:pt idx="13">
                  <c:v>Торговля</c:v>
                </c:pt>
                <c:pt idx="14">
                  <c:v>Гос. управление и соц. обеспечение</c:v>
                </c:pt>
                <c:pt idx="15">
                  <c:v>Строительство </c:v>
                </c:pt>
                <c:pt idx="16">
                  <c:v>Обрабатывающая промышленность</c:v>
                </c:pt>
                <c:pt idx="17">
                  <c:v>Здравоохран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10.888</c:v>
                </c:pt>
                <c:pt idx="1">
                  <c:v>13.137</c:v>
                </c:pt>
                <c:pt idx="2">
                  <c:v>14.481999999999999</c:v>
                </c:pt>
                <c:pt idx="3">
                  <c:v>15.923</c:v>
                </c:pt>
                <c:pt idx="4">
                  <c:v>23.085000000000001</c:v>
                </c:pt>
                <c:pt idx="5">
                  <c:v>23.428999999999998</c:v>
                </c:pt>
                <c:pt idx="6">
                  <c:v>24.794</c:v>
                </c:pt>
                <c:pt idx="7">
                  <c:v>29.21</c:v>
                </c:pt>
                <c:pt idx="8">
                  <c:v>40.106999999999999</c:v>
                </c:pt>
                <c:pt idx="9">
                  <c:v>50.155999999999999</c:v>
                </c:pt>
                <c:pt idx="10">
                  <c:v>55.18</c:v>
                </c:pt>
                <c:pt idx="11">
                  <c:v>57.134999999999998</c:v>
                </c:pt>
                <c:pt idx="12">
                  <c:v>59.463000000000001</c:v>
                </c:pt>
                <c:pt idx="13">
                  <c:v>93.555999999999997</c:v>
                </c:pt>
                <c:pt idx="14">
                  <c:v>98.081999999999994</c:v>
                </c:pt>
                <c:pt idx="15">
                  <c:v>98.587000000000003</c:v>
                </c:pt>
                <c:pt idx="16">
                  <c:v>136.82</c:v>
                </c:pt>
                <c:pt idx="17">
                  <c:v>189.995</c:v>
                </c:pt>
                <c:pt idx="18">
                  <c:v>504.430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9B2-4CE7-8317-AD857390C6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FE2-4CE6-B724-CF50FAEAA50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FE2-4CE6-B724-CF50FAEAA50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FE2-4CE6-B724-CF50FAEAA50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FE2-4CE6-B724-CF50FAEAA50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FE2-4CE6-B724-CF50FAEAA50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8.113</c:v>
                </c:pt>
                <c:pt idx="1">
                  <c:v>21.75</c:v>
                </c:pt>
                <c:pt idx="2">
                  <c:v>25.53</c:v>
                </c:pt>
                <c:pt idx="3">
                  <c:v>21.102</c:v>
                </c:pt>
                <c:pt idx="4">
                  <c:v>16.14</c:v>
                </c:pt>
                <c:pt idx="5">
                  <c:v>15.878</c:v>
                </c:pt>
                <c:pt idx="6">
                  <c:v>25.898</c:v>
                </c:pt>
                <c:pt idx="7">
                  <c:v>19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FE2-4CE6-B724-CF50FAEAA5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C4E-4E0F-B3AC-030602573BA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C4E-4E0F-B3AC-030602573BA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C4E-4E0F-B3AC-030602573BA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C4E-4E0F-B3AC-030602573BA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C4E-4E0F-B3AC-030602573BA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 и страхование</c:v>
                </c:pt>
                <c:pt idx="1">
                  <c:v>Услуги по проживанию и питанию</c:v>
                </c:pt>
                <c:pt idx="2">
                  <c:v>Информация и связь</c:v>
                </c:pt>
                <c:pt idx="3">
                  <c:v>Проф. и научная деятельность</c:v>
                </c:pt>
                <c:pt idx="4">
                  <c:v>Горнодобывающая промышленность</c:v>
                </c:pt>
                <c:pt idx="5">
                  <c:v>Операции с недвижимостью</c:v>
                </c:pt>
                <c:pt idx="6">
                  <c:v>Водоснабжение и удаление отходов</c:v>
                </c:pt>
                <c:pt idx="7">
                  <c:v>Адм. и вспом. обслуживание</c:v>
                </c:pt>
                <c:pt idx="8">
                  <c:v>Сельское хозяйство</c:v>
                </c:pt>
                <c:pt idx="9">
                  <c:v>Прочие индивидуальные услуги</c:v>
                </c:pt>
                <c:pt idx="10">
                  <c:v>Искусство и развлечения</c:v>
                </c:pt>
                <c:pt idx="11">
                  <c:v>Гос. управление и соц. обеспечение</c:v>
                </c:pt>
                <c:pt idx="12">
                  <c:v>Электро- и энергоснабжение</c:v>
                </c:pt>
                <c:pt idx="13">
                  <c:v>Транспорт и складирование</c:v>
                </c:pt>
                <c:pt idx="14">
                  <c:v>Строительство </c:v>
                </c:pt>
                <c:pt idx="15">
                  <c:v>Торговля</c:v>
                </c:pt>
                <c:pt idx="16">
                  <c:v>Здравоохранение</c:v>
                </c:pt>
                <c:pt idx="17">
                  <c:v>Обрабатывающая промышленность 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27900000000000003</c:v>
                </c:pt>
                <c:pt idx="1">
                  <c:v>0.63500000000000001</c:v>
                </c:pt>
                <c:pt idx="2">
                  <c:v>0.63500000000000001</c:v>
                </c:pt>
                <c:pt idx="3">
                  <c:v>0.74399999999999999</c:v>
                </c:pt>
                <c:pt idx="4">
                  <c:v>1.143</c:v>
                </c:pt>
                <c:pt idx="5">
                  <c:v>1.3640000000000001</c:v>
                </c:pt>
                <c:pt idx="6">
                  <c:v>1.373</c:v>
                </c:pt>
                <c:pt idx="7">
                  <c:v>2.222</c:v>
                </c:pt>
                <c:pt idx="8">
                  <c:v>2.5529999999999999</c:v>
                </c:pt>
                <c:pt idx="9">
                  <c:v>2.617</c:v>
                </c:pt>
                <c:pt idx="10">
                  <c:v>2.895</c:v>
                </c:pt>
                <c:pt idx="11">
                  <c:v>2.9319999999999999</c:v>
                </c:pt>
                <c:pt idx="12">
                  <c:v>3.2040000000000002</c:v>
                </c:pt>
                <c:pt idx="13">
                  <c:v>3.5449999999999999</c:v>
                </c:pt>
                <c:pt idx="14">
                  <c:v>3.911</c:v>
                </c:pt>
                <c:pt idx="15">
                  <c:v>4.3890000000000002</c:v>
                </c:pt>
                <c:pt idx="16">
                  <c:v>7.1479999999999997</c:v>
                </c:pt>
                <c:pt idx="17">
                  <c:v>8.84</c:v>
                </c:pt>
                <c:pt idx="18">
                  <c:v>27.187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C4E-4E0F-B3AC-030602573B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242-4AE5-B6BC-4C89D79E20D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242-4AE5-B6BC-4C89D79E20D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178262213976502</c:v>
                </c:pt>
                <c:pt idx="1">
                  <c:v>0.708217377860234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242-4AE5-B6BC-4C89D79E20D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D9E-4540-8F7B-8DA01C46162E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D9E-4540-8F7B-8DA01C46162E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D9E-4540-8F7B-8DA01C46162E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6D9E-4540-8F7B-8DA01C46162E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6D9E-4540-8F7B-8DA01C46162E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8221</c:v>
                </c:pt>
                <c:pt idx="1">
                  <c:v>7818</c:v>
                </c:pt>
                <c:pt idx="2">
                  <c:v>11765</c:v>
                </c:pt>
                <c:pt idx="3">
                  <c:v>360</c:v>
                </c:pt>
                <c:pt idx="4">
                  <c:v>7090</c:v>
                </c:pt>
                <c:pt idx="5">
                  <c:v>2288</c:v>
                </c:pt>
                <c:pt idx="6">
                  <c:v>6137</c:v>
                </c:pt>
                <c:pt idx="7">
                  <c:v>20586</c:v>
                </c:pt>
                <c:pt idx="8">
                  <c:v>3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D9E-4540-8F7B-8DA01C4616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DD9-4DB6-9109-0E391E49BA11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DD9-4DB6-9109-0E391E49BA11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DD9-4DB6-9109-0E391E49BA11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DD9-4DB6-9109-0E391E49BA11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DD9-4DB6-9109-0E391E49BA1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2.247999999999999</c:v>
                </c:pt>
                <c:pt idx="1">
                  <c:v>15.26</c:v>
                </c:pt>
                <c:pt idx="2">
                  <c:v>16.178000000000001</c:v>
                </c:pt>
                <c:pt idx="3">
                  <c:v>15.72</c:v>
                </c:pt>
                <c:pt idx="4">
                  <c:v>10.522</c:v>
                </c:pt>
                <c:pt idx="5">
                  <c:v>14.585000000000001</c:v>
                </c:pt>
                <c:pt idx="6">
                  <c:v>22.116</c:v>
                </c:pt>
                <c:pt idx="7">
                  <c:v>17.952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D9-4DB6-9109-0E391E49BA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F3B-49B3-AEE2-6BF17A38122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F3B-49B3-AEE2-6BF17A38122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F3B-49B3-AEE2-6BF17A38122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F3B-49B3-AEE2-6BF17A38122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F3B-49B3-AEE2-6BF17A38122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 и страхование</c:v>
                </c:pt>
                <c:pt idx="1">
                  <c:v>Информация и связь</c:v>
                </c:pt>
                <c:pt idx="2">
                  <c:v>Услуги по проживанию и питанию</c:v>
                </c:pt>
                <c:pt idx="3">
                  <c:v>Проф. и научная деятельность</c:v>
                </c:pt>
                <c:pt idx="4">
                  <c:v>Операции с недвижимостью</c:v>
                </c:pt>
                <c:pt idx="5">
                  <c:v>Прочие индивидуальные услуги</c:v>
                </c:pt>
                <c:pt idx="6">
                  <c:v>Водоснабжение и удаление отходов</c:v>
                </c:pt>
                <c:pt idx="7">
                  <c:v>Искусство и развлечения</c:v>
                </c:pt>
                <c:pt idx="8">
                  <c:v>Горнодобывающая промышленность</c:v>
                </c:pt>
                <c:pt idx="9">
                  <c:v>Транспорт и складирование</c:v>
                </c:pt>
                <c:pt idx="10">
                  <c:v>Адм. и вспом. обслуживание</c:v>
                </c:pt>
                <c:pt idx="11">
                  <c:v>Электро- и энергоснабжение</c:v>
                </c:pt>
                <c:pt idx="12">
                  <c:v>Строительство </c:v>
                </c:pt>
                <c:pt idx="13">
                  <c:v>Торговля</c:v>
                </c:pt>
                <c:pt idx="14">
                  <c:v>Обрабатывающая промышленность </c:v>
                </c:pt>
                <c:pt idx="15">
                  <c:v>Гос. управление и соц. обеспечение</c:v>
                </c:pt>
                <c:pt idx="16">
                  <c:v>Сельское хозяйство</c:v>
                </c:pt>
                <c:pt idx="17">
                  <c:v>Здравоохран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113</c:v>
                </c:pt>
                <c:pt idx="1">
                  <c:v>0.371</c:v>
                </c:pt>
                <c:pt idx="2">
                  <c:v>0.42299999999999999</c:v>
                </c:pt>
                <c:pt idx="3">
                  <c:v>0.45500000000000002</c:v>
                </c:pt>
                <c:pt idx="4">
                  <c:v>0.63</c:v>
                </c:pt>
                <c:pt idx="5">
                  <c:v>1.129</c:v>
                </c:pt>
                <c:pt idx="6">
                  <c:v>1.5109999999999999</c:v>
                </c:pt>
                <c:pt idx="7">
                  <c:v>1.5640000000000001</c:v>
                </c:pt>
                <c:pt idx="8">
                  <c:v>1.88</c:v>
                </c:pt>
                <c:pt idx="9">
                  <c:v>1.9690000000000001</c:v>
                </c:pt>
                <c:pt idx="10">
                  <c:v>2.0640000000000001</c:v>
                </c:pt>
                <c:pt idx="11">
                  <c:v>2.665</c:v>
                </c:pt>
                <c:pt idx="12">
                  <c:v>3.9580000000000002</c:v>
                </c:pt>
                <c:pt idx="13">
                  <c:v>4.6289999999999996</c:v>
                </c:pt>
                <c:pt idx="14">
                  <c:v>5.2560000000000002</c:v>
                </c:pt>
                <c:pt idx="15">
                  <c:v>5.8470000000000004</c:v>
                </c:pt>
                <c:pt idx="16">
                  <c:v>7.6539999999999999</c:v>
                </c:pt>
                <c:pt idx="17">
                  <c:v>8.3889999999999993</c:v>
                </c:pt>
                <c:pt idx="18">
                  <c:v>14.6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F3B-49B3-AEE2-6BF17A38122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28C-4CD0-974F-FA553903CF4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28C-4CD0-974F-FA553903CF48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996348349085553</c:v>
                </c:pt>
                <c:pt idx="1">
                  <c:v>0.700365165091444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28C-4CD0-974F-FA553903CF4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692161824726673E-2"/>
          <c:y val="2.1490132932739322E-2"/>
          <c:w val="0.74244487500971657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AE1-49C7-BA77-07340B4E726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AE1-49C7-BA77-07340B4E726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EAE1-49C7-BA77-07340B4E726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EAE1-49C7-BA77-07340B4E726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EAE1-49C7-BA77-07340B4E726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8142</c:v>
                </c:pt>
                <c:pt idx="1">
                  <c:v>7057</c:v>
                </c:pt>
                <c:pt idx="2">
                  <c:v>9701</c:v>
                </c:pt>
                <c:pt idx="3">
                  <c:v>1001</c:v>
                </c:pt>
                <c:pt idx="4">
                  <c:v>4587</c:v>
                </c:pt>
                <c:pt idx="5">
                  <c:v>1817</c:v>
                </c:pt>
                <c:pt idx="6">
                  <c:v>5042</c:v>
                </c:pt>
                <c:pt idx="7">
                  <c:v>14416</c:v>
                </c:pt>
                <c:pt idx="8">
                  <c:v>34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AE1-49C7-BA77-07340B4E726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1B-4E92-8407-1A149AF3D940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1B-4E92-8407-1A149AF3D940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1B-4E92-8407-1A149AF3D940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E1B-4E92-8407-1A149AF3D940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E1B-4E92-8407-1A149AF3D94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.3890000000000002</c:v>
                </c:pt>
                <c:pt idx="1">
                  <c:v>5.8380000000000001</c:v>
                </c:pt>
                <c:pt idx="2">
                  <c:v>7.9630000000000001</c:v>
                </c:pt>
                <c:pt idx="3">
                  <c:v>12.725</c:v>
                </c:pt>
                <c:pt idx="4">
                  <c:v>6.5060000000000002</c:v>
                </c:pt>
                <c:pt idx="5">
                  <c:v>6.5960000000000001</c:v>
                </c:pt>
                <c:pt idx="6">
                  <c:v>9.8469999999999995</c:v>
                </c:pt>
                <c:pt idx="7">
                  <c:v>11.260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E1B-4E92-8407-1A149AF3D9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B9-42CC-B7CD-951CB52327E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B9-42CC-B7CD-951CB52327E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B9-42CC-B7CD-951CB52327E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EB9-42CC-B7CD-951CB52327E1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EB9-42CC-B7CD-951CB52327E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 и страхование</c:v>
                </c:pt>
                <c:pt idx="1">
                  <c:v>Операции с недвижимостью</c:v>
                </c:pt>
                <c:pt idx="2">
                  <c:v>Электро- и энергоснабжение</c:v>
                </c:pt>
                <c:pt idx="3">
                  <c:v>Информация и связь</c:v>
                </c:pt>
                <c:pt idx="4">
                  <c:v>Горнодобывающая промышленность</c:v>
                </c:pt>
                <c:pt idx="5">
                  <c:v>Адм. и вспом. обслуживание</c:v>
                </c:pt>
                <c:pt idx="6">
                  <c:v>Проф. и научная деятельность</c:v>
                </c:pt>
                <c:pt idx="7">
                  <c:v>Услуги по проживанию и питанию</c:v>
                </c:pt>
                <c:pt idx="8">
                  <c:v>Водоснабжение и удаление отходов</c:v>
                </c:pt>
                <c:pt idx="9">
                  <c:v>Искусство и развлечения</c:v>
                </c:pt>
                <c:pt idx="10">
                  <c:v>Обрабатывающая промышленность </c:v>
                </c:pt>
                <c:pt idx="11">
                  <c:v>Транспорт и складирование</c:v>
                </c:pt>
                <c:pt idx="12">
                  <c:v>Прочие индивидуальные услуги</c:v>
                </c:pt>
                <c:pt idx="13">
                  <c:v>Здравоохранение</c:v>
                </c:pt>
                <c:pt idx="14">
                  <c:v>Строительство </c:v>
                </c:pt>
                <c:pt idx="15">
                  <c:v>Торговля</c:v>
                </c:pt>
                <c:pt idx="16">
                  <c:v>Сельское хозяйство</c:v>
                </c:pt>
                <c:pt idx="17">
                  <c:v>Гос. управление и соц. обеспеч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104</c:v>
                </c:pt>
                <c:pt idx="1">
                  <c:v>0.22</c:v>
                </c:pt>
                <c:pt idx="2">
                  <c:v>0.38300000000000001</c:v>
                </c:pt>
                <c:pt idx="3">
                  <c:v>0.442</c:v>
                </c:pt>
                <c:pt idx="4">
                  <c:v>0.45400000000000001</c:v>
                </c:pt>
                <c:pt idx="5">
                  <c:v>0.48599999999999999</c:v>
                </c:pt>
                <c:pt idx="6">
                  <c:v>0.502</c:v>
                </c:pt>
                <c:pt idx="7">
                  <c:v>0.51800000000000002</c:v>
                </c:pt>
                <c:pt idx="8">
                  <c:v>0.98</c:v>
                </c:pt>
                <c:pt idx="9">
                  <c:v>1.3069999999999999</c:v>
                </c:pt>
                <c:pt idx="10">
                  <c:v>1.381</c:v>
                </c:pt>
                <c:pt idx="11">
                  <c:v>1.881</c:v>
                </c:pt>
                <c:pt idx="12">
                  <c:v>2.5640000000000001</c:v>
                </c:pt>
                <c:pt idx="13">
                  <c:v>2.819</c:v>
                </c:pt>
                <c:pt idx="14">
                  <c:v>2.8479999999999999</c:v>
                </c:pt>
                <c:pt idx="15">
                  <c:v>3.0419999999999998</c:v>
                </c:pt>
                <c:pt idx="16">
                  <c:v>3.407</c:v>
                </c:pt>
                <c:pt idx="17">
                  <c:v>3.484</c:v>
                </c:pt>
                <c:pt idx="18">
                  <c:v>7.387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EB9-42CC-B7CD-951CB52327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8750059607115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5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EFA-484A-B2D2-3D9420DE40B1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EFA-484A-B2D2-3D9420DE40B1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EFA-484A-B2D2-3D9420DE40B1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17-46CE-BDE4-B7EC9CE32A76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EFA-484A-B2D2-3D9420DE40B1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Кызылординская</c:v>
                </c:pt>
                <c:pt idx="2">
                  <c:v>Жетысу</c:v>
                </c:pt>
                <c:pt idx="3">
                  <c:v>Мангистауская</c:v>
                </c:pt>
                <c:pt idx="4">
                  <c:v>Абай</c:v>
                </c:pt>
                <c:pt idx="5">
                  <c:v>г. Шымкент</c:v>
                </c:pt>
                <c:pt idx="6">
                  <c:v>Северо-Казахстанская</c:v>
                </c:pt>
                <c:pt idx="7">
                  <c:v>Алматинская</c:v>
                </c:pt>
                <c:pt idx="8">
                  <c:v>Туркестанская</c:v>
                </c:pt>
                <c:pt idx="9">
                  <c:v>Жамбылская</c:v>
                </c:pt>
                <c:pt idx="10">
                  <c:v>Акмолинская</c:v>
                </c:pt>
                <c:pt idx="11">
                  <c:v>Актюбинская</c:v>
                </c:pt>
                <c:pt idx="12">
                  <c:v>Атырауская</c:v>
                </c:pt>
                <c:pt idx="13">
                  <c:v>Западно-Казахстанская</c:v>
                </c:pt>
                <c:pt idx="14">
                  <c:v>Костанайская</c:v>
                </c:pt>
                <c:pt idx="15">
                  <c:v>Восточно-Казахстанская</c:v>
                </c:pt>
                <c:pt idx="16">
                  <c:v>Павлодарская</c:v>
                </c:pt>
                <c:pt idx="17">
                  <c:v>Карагандинская</c:v>
                </c:pt>
                <c:pt idx="18">
                  <c:v>г. Алматы</c:v>
                </c:pt>
                <c:pt idx="19">
                  <c:v>г. Астана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23.542999999999999</c:v>
                </c:pt>
                <c:pt idx="1">
                  <c:v>37.296999999999997</c:v>
                </c:pt>
                <c:pt idx="2">
                  <c:v>41.296999999999997</c:v>
                </c:pt>
                <c:pt idx="3">
                  <c:v>43.002000000000002</c:v>
                </c:pt>
                <c:pt idx="4">
                  <c:v>43.109000000000002</c:v>
                </c:pt>
                <c:pt idx="5">
                  <c:v>51.576999999999998</c:v>
                </c:pt>
                <c:pt idx="6">
                  <c:v>53.107999999999997</c:v>
                </c:pt>
                <c:pt idx="7">
                  <c:v>63.466000000000001</c:v>
                </c:pt>
                <c:pt idx="8">
                  <c:v>67.289000000000001</c:v>
                </c:pt>
                <c:pt idx="9">
                  <c:v>67.713999999999999</c:v>
                </c:pt>
                <c:pt idx="10">
                  <c:v>72.007999999999996</c:v>
                </c:pt>
                <c:pt idx="11">
                  <c:v>74.055000000000007</c:v>
                </c:pt>
                <c:pt idx="12">
                  <c:v>77.021000000000001</c:v>
                </c:pt>
                <c:pt idx="13">
                  <c:v>86.1</c:v>
                </c:pt>
                <c:pt idx="14">
                  <c:v>91.879000000000005</c:v>
                </c:pt>
                <c:pt idx="15">
                  <c:v>93.302000000000007</c:v>
                </c:pt>
                <c:pt idx="16">
                  <c:v>103.497</c:v>
                </c:pt>
                <c:pt idx="17">
                  <c:v>127.449</c:v>
                </c:pt>
                <c:pt idx="18">
                  <c:v>160.13</c:v>
                </c:pt>
                <c:pt idx="19">
                  <c:v>161.616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17-46CE-BDE4-B7EC9CE32A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9F-460A-8ED5-F46BA8635EFC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9F-460A-8ED5-F46BA8635EFC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1984799766150248</c:v>
                </c:pt>
                <c:pt idx="1">
                  <c:v>0.780152002338497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89F-460A-8ED5-F46BA8635E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506-41CD-A337-30C9D4D0FB9D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506-41CD-A337-30C9D4D0FB9D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D506-41CD-A337-30C9D4D0FB9D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D506-41CD-A337-30C9D4D0FB9D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D506-41CD-A337-30C9D4D0FB9D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5554</c:v>
                </c:pt>
                <c:pt idx="1">
                  <c:v>3795</c:v>
                </c:pt>
                <c:pt idx="2">
                  <c:v>2508</c:v>
                </c:pt>
                <c:pt idx="3">
                  <c:v>371</c:v>
                </c:pt>
                <c:pt idx="4">
                  <c:v>2047</c:v>
                </c:pt>
                <c:pt idx="5">
                  <c:v>769</c:v>
                </c:pt>
                <c:pt idx="6">
                  <c:v>2571</c:v>
                </c:pt>
                <c:pt idx="7">
                  <c:v>5622</c:v>
                </c:pt>
                <c:pt idx="8">
                  <c:v>9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506-41CD-A337-30C9D4D0FB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FC8-4374-B3A3-B3E5FB7FF88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C8-4374-B3A3-B3E5FB7FF88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FC8-4374-B3A3-B3E5FB7FF88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C8-4374-B3A3-B3E5FB7FF88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FC8-4374-B3A3-B3E5FB7FF88C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5.4989999999999997</c:v>
                </c:pt>
                <c:pt idx="1">
                  <c:v>5.5979999999999999</c:v>
                </c:pt>
                <c:pt idx="2">
                  <c:v>8.2200000000000006</c:v>
                </c:pt>
                <c:pt idx="3">
                  <c:v>7.375</c:v>
                </c:pt>
                <c:pt idx="4">
                  <c:v>7.319</c:v>
                </c:pt>
                <c:pt idx="5">
                  <c:v>6.8730000000000002</c:v>
                </c:pt>
                <c:pt idx="6">
                  <c:v>8.52</c:v>
                </c:pt>
                <c:pt idx="7">
                  <c:v>7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C8-4374-B3A3-B3E5FB7FF8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262-43CD-8553-5580E2155F71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262-43CD-8553-5580E2155F71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262-43CD-8553-5580E2155F71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262-43CD-8553-5580E2155F71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Информация и связь</c:v>
                </c:pt>
                <c:pt idx="1">
                  <c:v>Сельское хозяйство</c:v>
                </c:pt>
                <c:pt idx="2">
                  <c:v>Операции с недвижимостью</c:v>
                </c:pt>
                <c:pt idx="3">
                  <c:v>Горнодобывающая промышленность</c:v>
                </c:pt>
                <c:pt idx="4">
                  <c:v>Услуги по проживанию и питанию</c:v>
                </c:pt>
                <c:pt idx="5">
                  <c:v>Проф. и научная деятельность</c:v>
                </c:pt>
                <c:pt idx="6">
                  <c:v>Адм. и вспом. обслуживание</c:v>
                </c:pt>
                <c:pt idx="7">
                  <c:v>Водоснабжение и удаление отходов</c:v>
                </c:pt>
                <c:pt idx="8">
                  <c:v>Электро- и энергоснабжение</c:v>
                </c:pt>
                <c:pt idx="9">
                  <c:v>Прочие индивидуальные услуги</c:v>
                </c:pt>
                <c:pt idx="10">
                  <c:v>Искусство и развлечения</c:v>
                </c:pt>
                <c:pt idx="11">
                  <c:v>Транспорт и складирование</c:v>
                </c:pt>
                <c:pt idx="12">
                  <c:v>Торговля</c:v>
                </c:pt>
                <c:pt idx="13">
                  <c:v>Строительство </c:v>
                </c:pt>
                <c:pt idx="14">
                  <c:v>Обрабатывающая промышленность </c:v>
                </c:pt>
                <c:pt idx="15">
                  <c:v>Здравоохранение</c:v>
                </c:pt>
                <c:pt idx="16">
                  <c:v>Гос. управление и соц. обеспечение</c:v>
                </c:pt>
                <c:pt idx="17">
                  <c:v>Образование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7.3999999999999996E-2</c:v>
                </c:pt>
                <c:pt idx="1">
                  <c:v>0.129</c:v>
                </c:pt>
                <c:pt idx="2">
                  <c:v>0.20899999999999999</c:v>
                </c:pt>
                <c:pt idx="3">
                  <c:v>0.29899999999999999</c:v>
                </c:pt>
                <c:pt idx="4">
                  <c:v>0.40100000000000002</c:v>
                </c:pt>
                <c:pt idx="5">
                  <c:v>0.441</c:v>
                </c:pt>
                <c:pt idx="6">
                  <c:v>0.60299999999999998</c:v>
                </c:pt>
                <c:pt idx="7">
                  <c:v>0.64</c:v>
                </c:pt>
                <c:pt idx="8">
                  <c:v>0.66400000000000003</c:v>
                </c:pt>
                <c:pt idx="9">
                  <c:v>0.69399999999999995</c:v>
                </c:pt>
                <c:pt idx="10">
                  <c:v>1.1459999999999999</c:v>
                </c:pt>
                <c:pt idx="11">
                  <c:v>1.1519999999999999</c:v>
                </c:pt>
                <c:pt idx="12">
                  <c:v>1.5609999999999999</c:v>
                </c:pt>
                <c:pt idx="13">
                  <c:v>1.706</c:v>
                </c:pt>
                <c:pt idx="14">
                  <c:v>1.9530000000000001</c:v>
                </c:pt>
                <c:pt idx="15">
                  <c:v>3.13</c:v>
                </c:pt>
                <c:pt idx="16">
                  <c:v>3.206</c:v>
                </c:pt>
                <c:pt idx="17">
                  <c:v>11.8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262-43CD-8553-5580E2155F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DF8-488F-BC2F-BE9E2F883B0F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DF8-488F-BC2F-BE9E2F883B0F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1674150526104149</c:v>
                </c:pt>
                <c:pt idx="1">
                  <c:v>0.78325849473895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DF8-488F-BC2F-BE9E2F883B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00360830332018E-2"/>
          <c:y val="2.1490132932739322E-2"/>
          <c:w val="0.77291392565167794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E2F-4115-B8D0-589D113C0F7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E2F-4115-B8D0-589D113C0F7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E2F-4115-B8D0-589D113C0F7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E2F-4115-B8D0-589D113C0F7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E2F-4115-B8D0-589D113C0F7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7369</c:v>
                </c:pt>
                <c:pt idx="1">
                  <c:v>2343</c:v>
                </c:pt>
                <c:pt idx="2">
                  <c:v>3053</c:v>
                </c:pt>
                <c:pt idx="3">
                  <c:v>119</c:v>
                </c:pt>
                <c:pt idx="4">
                  <c:v>2697</c:v>
                </c:pt>
                <c:pt idx="5">
                  <c:v>843</c:v>
                </c:pt>
                <c:pt idx="6">
                  <c:v>2573</c:v>
                </c:pt>
                <c:pt idx="7">
                  <c:v>9506</c:v>
                </c:pt>
                <c:pt idx="8">
                  <c:v>1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E2F-4115-B8D0-589D113C0F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805-401E-91EA-22D70A13516B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805-401E-91EA-22D70A13516B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6805-401E-91EA-22D70A13516B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6805-401E-91EA-22D70A13516B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6805-401E-91EA-22D70A13516B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3.532999999999999</c:v>
                </c:pt>
                <c:pt idx="1">
                  <c:v>16.425000000000001</c:v>
                </c:pt>
                <c:pt idx="2">
                  <c:v>18.513999999999999</c:v>
                </c:pt>
                <c:pt idx="3">
                  <c:v>14.404</c:v>
                </c:pt>
                <c:pt idx="4">
                  <c:v>13.144</c:v>
                </c:pt>
                <c:pt idx="5">
                  <c:v>14.162000000000001</c:v>
                </c:pt>
                <c:pt idx="6">
                  <c:v>20.140999999999998</c:v>
                </c:pt>
                <c:pt idx="7">
                  <c:v>16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6805-401E-91EA-22D70A135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F90-4B62-9E5D-009EC1FFAC76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90-4B62-9E5D-009EC1FFAC7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F90-4B62-9E5D-009EC1FFAC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F90-4B62-9E5D-009EC1FFAC76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Информация и связь</c:v>
                </c:pt>
                <c:pt idx="1">
                  <c:v>Операции с недвижимостью</c:v>
                </c:pt>
                <c:pt idx="2">
                  <c:v>Услуги по проживанию и питанию</c:v>
                </c:pt>
                <c:pt idx="3">
                  <c:v>Проф. и научная деятельность</c:v>
                </c:pt>
                <c:pt idx="4">
                  <c:v>Прочие индивидуальные услуги</c:v>
                </c:pt>
                <c:pt idx="5">
                  <c:v>Водоснабжение и удаление отходов</c:v>
                </c:pt>
                <c:pt idx="6">
                  <c:v>Горнодобывающая промышленность</c:v>
                </c:pt>
                <c:pt idx="7">
                  <c:v>Искусство и развлечения</c:v>
                </c:pt>
                <c:pt idx="8">
                  <c:v>Сельское хозяйство</c:v>
                </c:pt>
                <c:pt idx="9">
                  <c:v>Торговля</c:v>
                </c:pt>
                <c:pt idx="10">
                  <c:v>Транспорт и складирование</c:v>
                </c:pt>
                <c:pt idx="11">
                  <c:v>Адм. и вспом. обслуживание</c:v>
                </c:pt>
                <c:pt idx="12">
                  <c:v>Строительство </c:v>
                </c:pt>
                <c:pt idx="13">
                  <c:v>Гос. управление и соц. обеспечение</c:v>
                </c:pt>
                <c:pt idx="14">
                  <c:v>Электро- и энергоснабжение</c:v>
                </c:pt>
                <c:pt idx="15">
                  <c:v>Здравоохранение</c:v>
                </c:pt>
                <c:pt idx="16">
                  <c:v>Образование</c:v>
                </c:pt>
                <c:pt idx="17">
                  <c:v>Обрабатывающая промышленность 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6.8000000000000005E-2</c:v>
                </c:pt>
                <c:pt idx="1">
                  <c:v>0.32600000000000001</c:v>
                </c:pt>
                <c:pt idx="2">
                  <c:v>0.33500000000000002</c:v>
                </c:pt>
                <c:pt idx="3">
                  <c:v>0.53200000000000003</c:v>
                </c:pt>
                <c:pt idx="4">
                  <c:v>0.66700000000000004</c:v>
                </c:pt>
                <c:pt idx="5">
                  <c:v>1.37</c:v>
                </c:pt>
                <c:pt idx="6">
                  <c:v>1.4870000000000001</c:v>
                </c:pt>
                <c:pt idx="7">
                  <c:v>1.7709999999999999</c:v>
                </c:pt>
                <c:pt idx="8">
                  <c:v>1.831</c:v>
                </c:pt>
                <c:pt idx="9">
                  <c:v>2.016</c:v>
                </c:pt>
                <c:pt idx="10">
                  <c:v>2.617</c:v>
                </c:pt>
                <c:pt idx="11">
                  <c:v>3.246</c:v>
                </c:pt>
                <c:pt idx="12">
                  <c:v>3.4860000000000002</c:v>
                </c:pt>
                <c:pt idx="13">
                  <c:v>3.5030000000000001</c:v>
                </c:pt>
                <c:pt idx="14">
                  <c:v>3.8889999999999998</c:v>
                </c:pt>
                <c:pt idx="15">
                  <c:v>6.0110000000000001</c:v>
                </c:pt>
                <c:pt idx="16">
                  <c:v>14.775</c:v>
                </c:pt>
                <c:pt idx="17">
                  <c:v>15.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F90-4B62-9E5D-009EC1FFAC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07E-4A4E-B93A-D42F0F5BDFB0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607E-4A4E-B93A-D42F0F5BDFB0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41389661621638613</c:v>
                </c:pt>
                <c:pt idx="1">
                  <c:v>0.586103383783613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07E-4A4E-B93A-D42F0F5BDFB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000360830332018E-2"/>
          <c:y val="2.1490132932739322E-2"/>
          <c:w val="0.76682011552328555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AE0-47D7-AFFE-9A70DF3F68C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AE0-47D7-AFFE-9A70DF3F68C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AE0-47D7-AFFE-9A70DF3F68CF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AE0-47D7-AFFE-9A70DF3F68CF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AE0-47D7-AFFE-9A70DF3F68CF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1363</c:v>
                </c:pt>
                <c:pt idx="1">
                  <c:v>10646</c:v>
                </c:pt>
                <c:pt idx="2">
                  <c:v>13336</c:v>
                </c:pt>
                <c:pt idx="3">
                  <c:v>613</c:v>
                </c:pt>
                <c:pt idx="4">
                  <c:v>7069</c:v>
                </c:pt>
                <c:pt idx="5">
                  <c:v>1713</c:v>
                </c:pt>
                <c:pt idx="6">
                  <c:v>4747</c:v>
                </c:pt>
                <c:pt idx="7">
                  <c:v>12112</c:v>
                </c:pt>
                <c:pt idx="8">
                  <c:v>20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AE0-47D7-AFFE-9A70DF3F68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1245239946077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AE16-4E86-9832-9BD623222360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35B-48BE-80EA-02135DF533EA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35B-48BE-80EA-02135DF533EA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E16-4E86-9832-9BD623222360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E16-4E86-9832-9BD623222360}"/>
              </c:ext>
            </c:extLst>
          </c:dPt>
          <c:dLbls>
            <c:dLbl>
              <c:idx val="0"/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rgbClr val="1E4E7A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K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AE16-4E86-9832-9BD62322236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 и страхование</c:v>
                </c:pt>
                <c:pt idx="1">
                  <c:v>Информация и связь</c:v>
                </c:pt>
                <c:pt idx="2">
                  <c:v>Операции с недвижимостью</c:v>
                </c:pt>
                <c:pt idx="3">
                  <c:v>Услуги по проживанию и питанию</c:v>
                </c:pt>
                <c:pt idx="4">
                  <c:v>Прочие индивидуальные услуги</c:v>
                </c:pt>
                <c:pt idx="5">
                  <c:v>Проф. и научная деятельность</c:v>
                </c:pt>
                <c:pt idx="6">
                  <c:v>Искусство и развлечения</c:v>
                </c:pt>
                <c:pt idx="7">
                  <c:v>Адм. и вспом. обслуживание</c:v>
                </c:pt>
                <c:pt idx="8">
                  <c:v>Гос. управление и соц. обеспечение</c:v>
                </c:pt>
                <c:pt idx="9">
                  <c:v>Водоснабжение и удаление отходов</c:v>
                </c:pt>
                <c:pt idx="10">
                  <c:v>Горнодобывающая промышленность</c:v>
                </c:pt>
                <c:pt idx="11">
                  <c:v>Торговля</c:v>
                </c:pt>
                <c:pt idx="12">
                  <c:v>Сельское хозяйство</c:v>
                </c:pt>
                <c:pt idx="13">
                  <c:v>Транспорт и складирование</c:v>
                </c:pt>
                <c:pt idx="14">
                  <c:v>Электро- и энергоснабжение</c:v>
                </c:pt>
                <c:pt idx="15">
                  <c:v>Здравоохранение</c:v>
                </c:pt>
                <c:pt idx="16">
                  <c:v>Образование</c:v>
                </c:pt>
                <c:pt idx="17">
                  <c:v>Строительство </c:v>
                </c:pt>
                <c:pt idx="18">
                  <c:v>Обрабатывающая промышленность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7.1999999999999995E-2</c:v>
                </c:pt>
                <c:pt idx="1">
                  <c:v>2.2240000000000002</c:v>
                </c:pt>
                <c:pt idx="2">
                  <c:v>4.6399999999999997</c:v>
                </c:pt>
                <c:pt idx="3">
                  <c:v>6.6189999999999998</c:v>
                </c:pt>
                <c:pt idx="4">
                  <c:v>6.6879999999999997</c:v>
                </c:pt>
                <c:pt idx="5">
                  <c:v>7.8879999999999999</c:v>
                </c:pt>
                <c:pt idx="6">
                  <c:v>8.9870000000000001</c:v>
                </c:pt>
                <c:pt idx="7">
                  <c:v>13.945</c:v>
                </c:pt>
                <c:pt idx="8">
                  <c:v>15.194000000000001</c:v>
                </c:pt>
                <c:pt idx="9">
                  <c:v>16.355</c:v>
                </c:pt>
                <c:pt idx="10">
                  <c:v>17.599</c:v>
                </c:pt>
                <c:pt idx="11">
                  <c:v>22.849</c:v>
                </c:pt>
                <c:pt idx="12">
                  <c:v>35.959000000000003</c:v>
                </c:pt>
                <c:pt idx="13">
                  <c:v>37.301000000000002</c:v>
                </c:pt>
                <c:pt idx="14">
                  <c:v>43.15</c:v>
                </c:pt>
                <c:pt idx="15">
                  <c:v>61.106000000000002</c:v>
                </c:pt>
                <c:pt idx="16">
                  <c:v>67.019000000000005</c:v>
                </c:pt>
                <c:pt idx="17">
                  <c:v>70.564999999999998</c:v>
                </c:pt>
                <c:pt idx="18">
                  <c:v>108.3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E16-4E86-9832-9BD6232223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443-48E4-A484-1984D7F889F4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443-48E4-A484-1984D7F889F4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443-48E4-A484-1984D7F889F4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443-48E4-A484-1984D7F889F4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443-48E4-A484-1984D7F889F4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.4279999999999999</c:v>
                </c:pt>
                <c:pt idx="1">
                  <c:v>8.0809999999999995</c:v>
                </c:pt>
                <c:pt idx="2">
                  <c:v>10.079000000000001</c:v>
                </c:pt>
                <c:pt idx="3">
                  <c:v>8.9779999999999998</c:v>
                </c:pt>
                <c:pt idx="4">
                  <c:v>7.2409999999999997</c:v>
                </c:pt>
                <c:pt idx="5">
                  <c:v>9.2159999999999993</c:v>
                </c:pt>
                <c:pt idx="6">
                  <c:v>11.837999999999999</c:v>
                </c:pt>
                <c:pt idx="7">
                  <c:v>9.54700000000000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443-48E4-A484-1984D7F889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D24-4444-B1DA-A738E808910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D24-4444-B1DA-A738E808910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D24-4444-B1DA-A738E808910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D24-4444-B1DA-A738E80891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Финансы и страхование</c:v>
                </c:pt>
                <c:pt idx="1">
                  <c:v>Информация и связь</c:v>
                </c:pt>
                <c:pt idx="2">
                  <c:v>Операции с недвижимостью</c:v>
                </c:pt>
                <c:pt idx="3">
                  <c:v>Проф. и научная деятельность</c:v>
                </c:pt>
                <c:pt idx="4">
                  <c:v>Адм. и вспом. обслуживание</c:v>
                </c:pt>
                <c:pt idx="5">
                  <c:v>Водоснабжение и удаление отходов</c:v>
                </c:pt>
                <c:pt idx="6">
                  <c:v>Услуги по проживанию и питанию</c:v>
                </c:pt>
                <c:pt idx="7">
                  <c:v>Искусство и развлечения</c:v>
                </c:pt>
                <c:pt idx="8">
                  <c:v>Транспорт и складирование</c:v>
                </c:pt>
                <c:pt idx="9">
                  <c:v>Прочие индивидуальные услуги</c:v>
                </c:pt>
                <c:pt idx="10">
                  <c:v>Строительство </c:v>
                </c:pt>
                <c:pt idx="11">
                  <c:v>Электро- и энергоснабжение</c:v>
                </c:pt>
                <c:pt idx="12">
                  <c:v>Торговля</c:v>
                </c:pt>
                <c:pt idx="13">
                  <c:v>Гос. управление и соц. обеспечение</c:v>
                </c:pt>
                <c:pt idx="14">
                  <c:v>Здравоохранение</c:v>
                </c:pt>
                <c:pt idx="15">
                  <c:v>Сельское хозяйство</c:v>
                </c:pt>
                <c:pt idx="16">
                  <c:v>Обрабатывающая промышленность </c:v>
                </c:pt>
                <c:pt idx="17">
                  <c:v>Образование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8.4000000000000005E-2</c:v>
                </c:pt>
                <c:pt idx="1">
                  <c:v>0.10299999999999999</c:v>
                </c:pt>
                <c:pt idx="2">
                  <c:v>0.313</c:v>
                </c:pt>
                <c:pt idx="3">
                  <c:v>0.35299999999999998</c:v>
                </c:pt>
                <c:pt idx="4">
                  <c:v>0.40699999999999997</c:v>
                </c:pt>
                <c:pt idx="5">
                  <c:v>0.45500000000000002</c:v>
                </c:pt>
                <c:pt idx="6">
                  <c:v>0.48899999999999999</c:v>
                </c:pt>
                <c:pt idx="7">
                  <c:v>0.499</c:v>
                </c:pt>
                <c:pt idx="8">
                  <c:v>0.73299999999999998</c:v>
                </c:pt>
                <c:pt idx="9">
                  <c:v>0.79800000000000004</c:v>
                </c:pt>
                <c:pt idx="10">
                  <c:v>1.252</c:v>
                </c:pt>
                <c:pt idx="11">
                  <c:v>2.548</c:v>
                </c:pt>
                <c:pt idx="12">
                  <c:v>2.8769999999999998</c:v>
                </c:pt>
                <c:pt idx="13">
                  <c:v>3.5310000000000001</c:v>
                </c:pt>
                <c:pt idx="14">
                  <c:v>4.2530000000000001</c:v>
                </c:pt>
                <c:pt idx="15">
                  <c:v>4.62</c:v>
                </c:pt>
                <c:pt idx="16">
                  <c:v>4.8360000000000003</c:v>
                </c:pt>
                <c:pt idx="17">
                  <c:v>9.676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D24-4444-B1DA-A738E8089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510-4B05-87FC-026C2633D596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510-4B05-87FC-026C2633D596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30830822895195814</c:v>
                </c:pt>
                <c:pt idx="1">
                  <c:v>0.69169177104804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510-4B05-87FC-026C2633D5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024-4048-B4D9-A20126320BF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024-4048-B4D9-A20126320BF3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024-4048-B4D9-A20126320BF3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024-4048-B4D9-A20126320BF3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024-4048-B4D9-A20126320BF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9757</c:v>
                </c:pt>
                <c:pt idx="1">
                  <c:v>3948</c:v>
                </c:pt>
                <c:pt idx="2">
                  <c:v>5796</c:v>
                </c:pt>
                <c:pt idx="3">
                  <c:v>691</c:v>
                </c:pt>
                <c:pt idx="4">
                  <c:v>3532</c:v>
                </c:pt>
                <c:pt idx="5">
                  <c:v>1027</c:v>
                </c:pt>
                <c:pt idx="6">
                  <c:v>3085</c:v>
                </c:pt>
                <c:pt idx="7">
                  <c:v>8158</c:v>
                </c:pt>
                <c:pt idx="8">
                  <c:v>18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024-4048-B4D9-A20126320BF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DF6-45A7-AF46-6F6B60DEC973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DF6-45A7-AF46-6F6B60DEC973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DF6-45A7-AF46-6F6B60DEC973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DF6-45A7-AF46-6F6B60DEC973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DF6-45A7-AF46-6F6B60DEC973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4.57</c:v>
                </c:pt>
                <c:pt idx="1">
                  <c:v>12.327</c:v>
                </c:pt>
                <c:pt idx="2">
                  <c:v>20.472000000000001</c:v>
                </c:pt>
                <c:pt idx="3">
                  <c:v>32.340000000000003</c:v>
                </c:pt>
                <c:pt idx="4">
                  <c:v>15.558999999999999</c:v>
                </c:pt>
                <c:pt idx="5">
                  <c:v>12.897</c:v>
                </c:pt>
                <c:pt idx="6">
                  <c:v>17.605</c:v>
                </c:pt>
                <c:pt idx="7">
                  <c:v>31.492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DF6-45A7-AF46-6F6B60DEC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979-42E6-8051-823A21CB86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979-42E6-8051-823A21CB86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979-42E6-8051-823A21CB86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979-42E6-8051-823A21CB86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979-42E6-8051-823A21CB86B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 и страхование</c:v>
                </c:pt>
                <c:pt idx="1">
                  <c:v>Информация и связь</c:v>
                </c:pt>
                <c:pt idx="2">
                  <c:v>Операции с недвижимостью</c:v>
                </c:pt>
                <c:pt idx="3">
                  <c:v>Горнодобывающая промышленность</c:v>
                </c:pt>
                <c:pt idx="4">
                  <c:v>Электро- и энергоснабжение</c:v>
                </c:pt>
                <c:pt idx="5">
                  <c:v>Водоснабжение и удаление отходов</c:v>
                </c:pt>
                <c:pt idx="6">
                  <c:v>Услуги по проживанию и питанию</c:v>
                </c:pt>
                <c:pt idx="7">
                  <c:v>Транспорт и складирование</c:v>
                </c:pt>
                <c:pt idx="8">
                  <c:v>Проф. и научная деятельность</c:v>
                </c:pt>
                <c:pt idx="9">
                  <c:v>Адм. и вспом. обслуживание</c:v>
                </c:pt>
                <c:pt idx="10">
                  <c:v>Искусство и развлечения</c:v>
                </c:pt>
                <c:pt idx="11">
                  <c:v>Строительство </c:v>
                </c:pt>
                <c:pt idx="12">
                  <c:v>Обрабатывающая промышленность </c:v>
                </c:pt>
                <c:pt idx="13">
                  <c:v>Прочие индивидуальные услуги</c:v>
                </c:pt>
                <c:pt idx="14">
                  <c:v>Гос. управление и соц. обеспечение</c:v>
                </c:pt>
                <c:pt idx="15">
                  <c:v>Здравоохранение</c:v>
                </c:pt>
                <c:pt idx="16">
                  <c:v>Торговля</c:v>
                </c:pt>
                <c:pt idx="17">
                  <c:v>Сельское хозяйство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9.5000000000000001E-2</c:v>
                </c:pt>
                <c:pt idx="1">
                  <c:v>0.156</c:v>
                </c:pt>
                <c:pt idx="2">
                  <c:v>0.25800000000000001</c:v>
                </c:pt>
                <c:pt idx="3">
                  <c:v>0.27500000000000002</c:v>
                </c:pt>
                <c:pt idx="4">
                  <c:v>0.41499999999999998</c:v>
                </c:pt>
                <c:pt idx="5">
                  <c:v>0.74</c:v>
                </c:pt>
                <c:pt idx="6">
                  <c:v>0.752</c:v>
                </c:pt>
                <c:pt idx="7">
                  <c:v>0.76100000000000001</c:v>
                </c:pt>
                <c:pt idx="8">
                  <c:v>1.1759999999999999</c:v>
                </c:pt>
                <c:pt idx="9">
                  <c:v>1.4119999999999999</c:v>
                </c:pt>
                <c:pt idx="10">
                  <c:v>2.7469999999999999</c:v>
                </c:pt>
                <c:pt idx="11">
                  <c:v>3.3740000000000001</c:v>
                </c:pt>
                <c:pt idx="12">
                  <c:v>4.0970000000000004</c:v>
                </c:pt>
                <c:pt idx="13">
                  <c:v>4.9589999999999996</c:v>
                </c:pt>
                <c:pt idx="14">
                  <c:v>5.5209999999999999</c:v>
                </c:pt>
                <c:pt idx="15">
                  <c:v>5.6859999999999999</c:v>
                </c:pt>
                <c:pt idx="16">
                  <c:v>7.6859999999999999</c:v>
                </c:pt>
                <c:pt idx="17">
                  <c:v>17.469000000000001</c:v>
                </c:pt>
                <c:pt idx="18">
                  <c:v>19.9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79-42E6-8051-823A21CB86B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031-4E28-9676-8706E5F2992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031-4E28-9676-8706E5F2992D}"/>
              </c:ext>
            </c:extLst>
          </c:dPt>
          <c:dLbls>
            <c:dLbl>
              <c:idx val="0"/>
              <c:layout>
                <c:manualLayout>
                  <c:x val="-0.10569538507936299"/>
                  <c:y val="0.16651650726396111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031-4E28-9676-8706E5F2992D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4947197400487408</c:v>
                </c:pt>
                <c:pt idx="1">
                  <c:v>0.850528025995125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031-4E28-9676-8706E5F299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AFD-47D4-9030-380C26B030B6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AFD-47D4-9030-380C26B030B6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AFD-47D4-9030-380C26B030B6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AFD-47D4-9030-380C26B030B6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AFD-47D4-9030-380C26B030B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43301</c:v>
                </c:pt>
                <c:pt idx="1">
                  <c:v>3800</c:v>
                </c:pt>
                <c:pt idx="2">
                  <c:v>4133</c:v>
                </c:pt>
                <c:pt idx="3">
                  <c:v>1229</c:v>
                </c:pt>
                <c:pt idx="4">
                  <c:v>4605</c:v>
                </c:pt>
                <c:pt idx="5">
                  <c:v>2062</c:v>
                </c:pt>
                <c:pt idx="6">
                  <c:v>5563</c:v>
                </c:pt>
                <c:pt idx="7">
                  <c:v>11051</c:v>
                </c:pt>
                <c:pt idx="8">
                  <c:v>18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AFD-47D4-9030-380C26B030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6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A5A-47F2-97D2-8137F57E21E9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A5A-47F2-97D2-8137F57E21E9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A5A-47F2-97D2-8137F57E21E9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A5A-47F2-97D2-8137F57E21E9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4A5A-47F2-97D2-8137F57E21E9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956</c:v>
                </c:pt>
                <c:pt idx="1">
                  <c:v>3.1110000000000002</c:v>
                </c:pt>
                <c:pt idx="2">
                  <c:v>4.3129999999999997</c:v>
                </c:pt>
                <c:pt idx="3">
                  <c:v>3.5720000000000001</c:v>
                </c:pt>
                <c:pt idx="4">
                  <c:v>3.3260000000000001</c:v>
                </c:pt>
                <c:pt idx="5">
                  <c:v>3.4740000000000002</c:v>
                </c:pt>
                <c:pt idx="6">
                  <c:v>4.6420000000000003</c:v>
                </c:pt>
                <c:pt idx="7">
                  <c:v>3.403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A5A-47F2-97D2-8137F57E21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6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E74-4DF9-8144-7F3D4814ED1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E74-4DF9-8144-7F3D4814ED1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E74-4DF9-8144-7F3D4814ED1E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8</c:f>
              <c:strCache>
                <c:ptCount val="17"/>
                <c:pt idx="0">
                  <c:v>Услуги по проживанию и питанию</c:v>
                </c:pt>
                <c:pt idx="1">
                  <c:v>Проф. и научная деятельность</c:v>
                </c:pt>
                <c:pt idx="2">
                  <c:v>Сельское хозяйство</c:v>
                </c:pt>
                <c:pt idx="3">
                  <c:v>Водоснабжение и удаление отходов</c:v>
                </c:pt>
                <c:pt idx="4">
                  <c:v>Горнодобывающая промышленность</c:v>
                </c:pt>
                <c:pt idx="5">
                  <c:v>Торговля</c:v>
                </c:pt>
                <c:pt idx="6">
                  <c:v>Электро- и энергоснабжение</c:v>
                </c:pt>
                <c:pt idx="7">
                  <c:v>Прочие индивидуальные услуги</c:v>
                </c:pt>
                <c:pt idx="8">
                  <c:v>Транспорт и складирование</c:v>
                </c:pt>
                <c:pt idx="9">
                  <c:v>Операции с недвижимостью</c:v>
                </c:pt>
                <c:pt idx="10">
                  <c:v>Искусство и развлечения</c:v>
                </c:pt>
                <c:pt idx="11">
                  <c:v>Адм. и вспом. обслуживание</c:v>
                </c:pt>
                <c:pt idx="12">
                  <c:v>Строительство </c:v>
                </c:pt>
                <c:pt idx="13">
                  <c:v>Обрабатывающая промышленность </c:v>
                </c:pt>
                <c:pt idx="14">
                  <c:v>Здравоохранение</c:v>
                </c:pt>
                <c:pt idx="15">
                  <c:v>Гос. управление и соц. обеспечение</c:v>
                </c:pt>
                <c:pt idx="16">
                  <c:v>Образование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7.4999999999999997E-2</c:v>
                </c:pt>
                <c:pt idx="1">
                  <c:v>9.4E-2</c:v>
                </c:pt>
                <c:pt idx="2">
                  <c:v>0.11600000000000001</c:v>
                </c:pt>
                <c:pt idx="3">
                  <c:v>0.17</c:v>
                </c:pt>
                <c:pt idx="4">
                  <c:v>0.27600000000000002</c:v>
                </c:pt>
                <c:pt idx="5">
                  <c:v>0.308</c:v>
                </c:pt>
                <c:pt idx="6">
                  <c:v>0.41499999999999998</c:v>
                </c:pt>
                <c:pt idx="7">
                  <c:v>0.48299999999999998</c:v>
                </c:pt>
                <c:pt idx="8">
                  <c:v>0.48899999999999999</c:v>
                </c:pt>
                <c:pt idx="9">
                  <c:v>0.498</c:v>
                </c:pt>
                <c:pt idx="10">
                  <c:v>0.52500000000000002</c:v>
                </c:pt>
                <c:pt idx="11">
                  <c:v>0.54500000000000004</c:v>
                </c:pt>
                <c:pt idx="12">
                  <c:v>0.66100000000000003</c:v>
                </c:pt>
                <c:pt idx="13">
                  <c:v>0.94599999999999995</c:v>
                </c:pt>
                <c:pt idx="14">
                  <c:v>1.306</c:v>
                </c:pt>
                <c:pt idx="15">
                  <c:v>1.367</c:v>
                </c:pt>
                <c:pt idx="16">
                  <c:v>6.533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E74-4DF9-8144-7F3D4814ED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58750059607115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7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FFD-4666-A46C-5B4075FD6982}"/>
              </c:ext>
            </c:extLst>
          </c:dPt>
          <c:dPt>
            <c:idx val="1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FFD-4666-A46C-5B4075FD6982}"/>
              </c:ext>
            </c:extLst>
          </c:dPt>
          <c:dPt>
            <c:idx val="1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FFD-4666-A46C-5B4075FD6982}"/>
              </c:ext>
            </c:extLst>
          </c:dPt>
          <c:dPt>
            <c:idx val="1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C8C-4515-AE14-5778A9A6F656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3FFD-4666-A46C-5B4075FD698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1E4E7A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Жетысу</c:v>
                </c:pt>
                <c:pt idx="2">
                  <c:v>Мангистауская</c:v>
                </c:pt>
                <c:pt idx="3">
                  <c:v>Алматинская</c:v>
                </c:pt>
                <c:pt idx="4">
                  <c:v>Кызылординская</c:v>
                </c:pt>
                <c:pt idx="5">
                  <c:v>Абай</c:v>
                </c:pt>
                <c:pt idx="6">
                  <c:v>г. Шымкент</c:v>
                </c:pt>
                <c:pt idx="7">
                  <c:v>Жамбылская</c:v>
                </c:pt>
                <c:pt idx="8">
                  <c:v>Северо-Казахстанская</c:v>
                </c:pt>
                <c:pt idx="9">
                  <c:v>Туркестанская</c:v>
                </c:pt>
                <c:pt idx="10">
                  <c:v>Атырауская</c:v>
                </c:pt>
                <c:pt idx="11">
                  <c:v>Акмолинская</c:v>
                </c:pt>
                <c:pt idx="12">
                  <c:v>Актюбинская</c:v>
                </c:pt>
                <c:pt idx="13">
                  <c:v>Западно-Казахстанская</c:v>
                </c:pt>
                <c:pt idx="14">
                  <c:v>Костанайская</c:v>
                </c:pt>
                <c:pt idx="15">
                  <c:v>г. Астана</c:v>
                </c:pt>
                <c:pt idx="16">
                  <c:v>Восточно-Казахстанская</c:v>
                </c:pt>
                <c:pt idx="17">
                  <c:v>г. Алматы</c:v>
                </c:pt>
                <c:pt idx="18">
                  <c:v>Карагандинская</c:v>
                </c:pt>
                <c:pt idx="19">
                  <c:v>Павлодар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7.1440000000000001</c:v>
                </c:pt>
                <c:pt idx="1">
                  <c:v>10.794</c:v>
                </c:pt>
                <c:pt idx="2">
                  <c:v>13.234</c:v>
                </c:pt>
                <c:pt idx="3">
                  <c:v>14.994</c:v>
                </c:pt>
                <c:pt idx="4">
                  <c:v>15.635</c:v>
                </c:pt>
                <c:pt idx="5">
                  <c:v>16.47</c:v>
                </c:pt>
                <c:pt idx="6">
                  <c:v>18.757000000000001</c:v>
                </c:pt>
                <c:pt idx="7">
                  <c:v>20.027000000000001</c:v>
                </c:pt>
                <c:pt idx="8">
                  <c:v>23.593</c:v>
                </c:pt>
                <c:pt idx="9">
                  <c:v>23.905999999999999</c:v>
                </c:pt>
                <c:pt idx="10">
                  <c:v>26.036000000000001</c:v>
                </c:pt>
                <c:pt idx="11">
                  <c:v>28.047999999999998</c:v>
                </c:pt>
                <c:pt idx="12">
                  <c:v>28.907</c:v>
                </c:pt>
                <c:pt idx="13">
                  <c:v>31.97</c:v>
                </c:pt>
                <c:pt idx="14">
                  <c:v>39.182000000000002</c:v>
                </c:pt>
                <c:pt idx="15">
                  <c:v>41.433</c:v>
                </c:pt>
                <c:pt idx="16">
                  <c:v>41.457000000000001</c:v>
                </c:pt>
                <c:pt idx="17">
                  <c:v>42.991</c:v>
                </c:pt>
                <c:pt idx="18">
                  <c:v>49.896999999999998</c:v>
                </c:pt>
                <c:pt idx="19">
                  <c:v>52.024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C8C-4515-AE14-5778A9A6F6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45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322-4F72-A6E5-DA4B96C34E8B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322-4F72-A6E5-DA4B96C34E8B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1581570793479726</c:v>
                </c:pt>
                <c:pt idx="1">
                  <c:v>0.784184292065202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322-4F72-A6E5-DA4B96C34E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936-428F-B77D-466F56B0A68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936-428F-B77D-466F56B0A68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936-428F-B77D-466F56B0A684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936-428F-B77D-466F56B0A684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936-428F-B77D-466F56B0A684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662</c:v>
                </c:pt>
                <c:pt idx="1">
                  <c:v>1042</c:v>
                </c:pt>
                <c:pt idx="2">
                  <c:v>1670</c:v>
                </c:pt>
                <c:pt idx="3">
                  <c:v>45</c:v>
                </c:pt>
                <c:pt idx="4">
                  <c:v>1629</c:v>
                </c:pt>
                <c:pt idx="5">
                  <c:v>580</c:v>
                </c:pt>
                <c:pt idx="6">
                  <c:v>1418</c:v>
                </c:pt>
                <c:pt idx="7">
                  <c:v>4756</c:v>
                </c:pt>
                <c:pt idx="8">
                  <c:v>1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936-428F-B77D-466F56B0A6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15DC-447C-AE01-46CAFD2B8A2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5DC-447C-AE01-46CAFD2B8A2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15DC-447C-AE01-46CAFD2B8A2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15DC-447C-AE01-46CAFD2B8A2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15DC-447C-AE01-46CAFD2B8A2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2.302</c:v>
                </c:pt>
                <c:pt idx="1">
                  <c:v>14.805</c:v>
                </c:pt>
                <c:pt idx="2">
                  <c:v>17.001999999999999</c:v>
                </c:pt>
                <c:pt idx="3">
                  <c:v>13.68</c:v>
                </c:pt>
                <c:pt idx="4">
                  <c:v>12.215999999999999</c:v>
                </c:pt>
                <c:pt idx="5">
                  <c:v>13.795999999999999</c:v>
                </c:pt>
                <c:pt idx="6">
                  <c:v>16.385999999999999</c:v>
                </c:pt>
                <c:pt idx="7">
                  <c:v>14.5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5DC-447C-AE01-46CAFD2B8A2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5BC-4A77-A1A8-E39D277A0B57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5BC-4A77-A1A8-E39D277A0B57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5BC-4A77-A1A8-E39D277A0B57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5BC-4A77-A1A8-E39D277A0B57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5BC-4A77-A1A8-E39D277A0B5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Финансы и страхование</c:v>
                </c:pt>
                <c:pt idx="1">
                  <c:v>Информация и связь</c:v>
                </c:pt>
                <c:pt idx="2">
                  <c:v>Прочие индивидуальные услуги</c:v>
                </c:pt>
                <c:pt idx="3">
                  <c:v>Проф. и научная деятельность</c:v>
                </c:pt>
                <c:pt idx="4">
                  <c:v>Операции с недвижимостью</c:v>
                </c:pt>
                <c:pt idx="5">
                  <c:v>Адм. и вспом. обслуживание</c:v>
                </c:pt>
                <c:pt idx="6">
                  <c:v>Водоснабжение и удаление отходов</c:v>
                </c:pt>
                <c:pt idx="7">
                  <c:v>Услуги по проживанию и питанию</c:v>
                </c:pt>
                <c:pt idx="8">
                  <c:v>Искусство и развлечения</c:v>
                </c:pt>
                <c:pt idx="9">
                  <c:v>Торговля</c:v>
                </c:pt>
                <c:pt idx="10">
                  <c:v>Горнодобывающая промышленность</c:v>
                </c:pt>
                <c:pt idx="11">
                  <c:v>Электро- и энергоснабжение</c:v>
                </c:pt>
                <c:pt idx="12">
                  <c:v>Сельское хозяйство</c:v>
                </c:pt>
                <c:pt idx="13">
                  <c:v>Транспорт и складирование</c:v>
                </c:pt>
                <c:pt idx="14">
                  <c:v>Гос. управление и соц. обеспечение</c:v>
                </c:pt>
                <c:pt idx="15">
                  <c:v>Обрабатывающая промышленность </c:v>
                </c:pt>
                <c:pt idx="16">
                  <c:v>Здравоохранение</c:v>
                </c:pt>
                <c:pt idx="17">
                  <c:v>Строительство 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5.7000000000000002E-2</c:v>
                </c:pt>
                <c:pt idx="1">
                  <c:v>0.501</c:v>
                </c:pt>
                <c:pt idx="2">
                  <c:v>0.51600000000000001</c:v>
                </c:pt>
                <c:pt idx="3">
                  <c:v>0.52600000000000002</c:v>
                </c:pt>
                <c:pt idx="4">
                  <c:v>0.53600000000000003</c:v>
                </c:pt>
                <c:pt idx="5">
                  <c:v>0.627</c:v>
                </c:pt>
                <c:pt idx="6">
                  <c:v>0.73199999999999998</c:v>
                </c:pt>
                <c:pt idx="7">
                  <c:v>0.871</c:v>
                </c:pt>
                <c:pt idx="8">
                  <c:v>1.0349999999999999</c:v>
                </c:pt>
                <c:pt idx="9">
                  <c:v>2.3090000000000002</c:v>
                </c:pt>
                <c:pt idx="10">
                  <c:v>2.34</c:v>
                </c:pt>
                <c:pt idx="11">
                  <c:v>2.504</c:v>
                </c:pt>
                <c:pt idx="12">
                  <c:v>2.641</c:v>
                </c:pt>
                <c:pt idx="13">
                  <c:v>2.851</c:v>
                </c:pt>
                <c:pt idx="14">
                  <c:v>4.2140000000000004</c:v>
                </c:pt>
                <c:pt idx="15">
                  <c:v>5.0270000000000001</c:v>
                </c:pt>
                <c:pt idx="16">
                  <c:v>5.4050000000000002</c:v>
                </c:pt>
                <c:pt idx="17">
                  <c:v>7.4619999999999997</c:v>
                </c:pt>
                <c:pt idx="18">
                  <c:v>16.824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5BC-4A77-A1A8-E39D277A0B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978-45B6-992A-8F1522AB5DA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978-45B6-992A-8F1522AB5DAD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3318766563119746</c:v>
                </c:pt>
                <c:pt idx="1">
                  <c:v>0.66812334368802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78-45B6-992A-8F1522AB5D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29E-4D37-ABA5-5A66086946B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29E-4D37-ABA5-5A66086946B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29E-4D37-ABA5-5A66086946B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29E-4D37-ABA5-5A66086946B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29E-4D37-ABA5-5A66086946B8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506</c:v>
                </c:pt>
                <c:pt idx="1">
                  <c:v>6513</c:v>
                </c:pt>
                <c:pt idx="2">
                  <c:v>9028</c:v>
                </c:pt>
                <c:pt idx="3">
                  <c:v>539</c:v>
                </c:pt>
                <c:pt idx="4">
                  <c:v>4528</c:v>
                </c:pt>
                <c:pt idx="5">
                  <c:v>1303</c:v>
                </c:pt>
                <c:pt idx="6">
                  <c:v>5526</c:v>
                </c:pt>
                <c:pt idx="7">
                  <c:v>16289</c:v>
                </c:pt>
                <c:pt idx="8">
                  <c:v>27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29E-4D37-ABA5-5A66086946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7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81B-4384-ACDC-884BFE2CAE9A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81B-4384-ACDC-884BFE2CAE9A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81B-4384-ACDC-884BFE2CAE9A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81B-4384-ACDC-884BFE2CAE9A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81B-4384-ACDC-884BFE2CAE9A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1.925000000000001</c:v>
                </c:pt>
                <c:pt idx="1">
                  <c:v>23.602</c:v>
                </c:pt>
                <c:pt idx="2">
                  <c:v>28.001999999999999</c:v>
                </c:pt>
                <c:pt idx="3">
                  <c:v>23.042999999999999</c:v>
                </c:pt>
                <c:pt idx="4">
                  <c:v>19.46</c:v>
                </c:pt>
                <c:pt idx="5">
                  <c:v>21.782</c:v>
                </c:pt>
                <c:pt idx="6">
                  <c:v>30.849</c:v>
                </c:pt>
                <c:pt idx="7">
                  <c:v>23.582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81B-4384-ACDC-884BFE2CAE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EC2-4528-9FFD-32571E40FB1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EC2-4528-9FFD-32571E40FB10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EC2-4528-9FFD-32571E40FB10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EC2-4528-9FFD-32571E40FB10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EC2-4528-9FFD-32571E40FB10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Горнодобывающая промышленность</c:v>
                </c:pt>
                <c:pt idx="1">
                  <c:v>Водоснабжение и удаление отходов</c:v>
                </c:pt>
                <c:pt idx="2">
                  <c:v>Услуги по проживанию и питанию</c:v>
                </c:pt>
                <c:pt idx="3">
                  <c:v>Искусство и развлечения</c:v>
                </c:pt>
                <c:pt idx="4">
                  <c:v>Операции с недвижимостью</c:v>
                </c:pt>
                <c:pt idx="5">
                  <c:v>Финансы и страхование</c:v>
                </c:pt>
                <c:pt idx="6">
                  <c:v>Электро- и энергоснабжение</c:v>
                </c:pt>
                <c:pt idx="7">
                  <c:v>Сельское хозяйство</c:v>
                </c:pt>
                <c:pt idx="8">
                  <c:v>Проф. и научная деятельность</c:v>
                </c:pt>
                <c:pt idx="9">
                  <c:v>Транспорт и складирование</c:v>
                </c:pt>
                <c:pt idx="10">
                  <c:v>Гос. управление и соц. обеспечение</c:v>
                </c:pt>
                <c:pt idx="11">
                  <c:v>Информация и связь</c:v>
                </c:pt>
                <c:pt idx="12">
                  <c:v>Прочие индивидуальные услуги</c:v>
                </c:pt>
                <c:pt idx="13">
                  <c:v>Обрабатывающая промышленность </c:v>
                </c:pt>
                <c:pt idx="14">
                  <c:v>Адм. и вспом. обслуживание</c:v>
                </c:pt>
                <c:pt idx="15">
                  <c:v>Строительство </c:v>
                </c:pt>
                <c:pt idx="16">
                  <c:v>Здравоохранение</c:v>
                </c:pt>
                <c:pt idx="17">
                  <c:v>Торговля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38100000000000001</c:v>
                </c:pt>
                <c:pt idx="1">
                  <c:v>1.325</c:v>
                </c:pt>
                <c:pt idx="2">
                  <c:v>1.347</c:v>
                </c:pt>
                <c:pt idx="3">
                  <c:v>1.37</c:v>
                </c:pt>
                <c:pt idx="4">
                  <c:v>1.46</c:v>
                </c:pt>
                <c:pt idx="5">
                  <c:v>1.5589999999999999</c:v>
                </c:pt>
                <c:pt idx="6">
                  <c:v>1.6359999999999999</c:v>
                </c:pt>
                <c:pt idx="7">
                  <c:v>1.75</c:v>
                </c:pt>
                <c:pt idx="8">
                  <c:v>3.1259999999999999</c:v>
                </c:pt>
                <c:pt idx="9">
                  <c:v>3.43</c:v>
                </c:pt>
                <c:pt idx="10">
                  <c:v>3.5720000000000001</c:v>
                </c:pt>
                <c:pt idx="11">
                  <c:v>3.69</c:v>
                </c:pt>
                <c:pt idx="12">
                  <c:v>4.05</c:v>
                </c:pt>
                <c:pt idx="13">
                  <c:v>5.36</c:v>
                </c:pt>
                <c:pt idx="14">
                  <c:v>7.1689999999999996</c:v>
                </c:pt>
                <c:pt idx="15">
                  <c:v>7.2720000000000002</c:v>
                </c:pt>
                <c:pt idx="16">
                  <c:v>8.5920000000000005</c:v>
                </c:pt>
                <c:pt idx="17">
                  <c:v>8.7829999999999995</c:v>
                </c:pt>
                <c:pt idx="18">
                  <c:v>29.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EC2-4528-9FFD-32571E40FB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C70C-48D0-83C4-F248CF6400FB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C70C-48D0-83C4-F248CF6400FB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9311411668791939</c:v>
                </c:pt>
                <c:pt idx="1">
                  <c:v>0.806885883312080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70C-48D0-83C4-F248CF6400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7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D82-49E8-B818-04C4B2AEBC8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D82-49E8-B818-04C4B2AEBC8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9D82-49E8-B818-04C4B2AEBC8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9D82-49E8-B818-04C4B2AEBC8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D82-49E8-B818-04C4B2AEBC8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5719</c:v>
                </c:pt>
                <c:pt idx="1">
                  <c:v>6768</c:v>
                </c:pt>
                <c:pt idx="2">
                  <c:v>8481</c:v>
                </c:pt>
                <c:pt idx="3">
                  <c:v>187</c:v>
                </c:pt>
                <c:pt idx="4">
                  <c:v>12588</c:v>
                </c:pt>
                <c:pt idx="5">
                  <c:v>3118</c:v>
                </c:pt>
                <c:pt idx="6">
                  <c:v>10462</c:v>
                </c:pt>
                <c:pt idx="7">
                  <c:v>32766</c:v>
                </c:pt>
                <c:pt idx="8">
                  <c:v>55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D82-49E8-B818-04C4B2AEBC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1A2-4989-88A3-6AE88E410CAC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1A2-4989-88A3-6AE88E410CAC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1A2-4989-88A3-6AE88E410CAC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1A2-4989-88A3-6AE88E410CAC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4.6909999999999998</c:v>
                </c:pt>
                <c:pt idx="1">
                  <c:v>5.6260000000000003</c:v>
                </c:pt>
                <c:pt idx="2">
                  <c:v>9.1080000000000005</c:v>
                </c:pt>
                <c:pt idx="3">
                  <c:v>6.42</c:v>
                </c:pt>
                <c:pt idx="4">
                  <c:v>6.6639999999999997</c:v>
                </c:pt>
                <c:pt idx="5">
                  <c:v>7.5209999999999999</c:v>
                </c:pt>
                <c:pt idx="6">
                  <c:v>9.1519999999999992</c:v>
                </c:pt>
                <c:pt idx="7">
                  <c:v>7.197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F8D-486A-A3E2-7DDE88EDD7F2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F8D-486A-A3E2-7DDE88EDD7F2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F8D-486A-A3E2-7DDE88EDD7F2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F8D-486A-A3E2-7DDE88EDD7F2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F8D-486A-A3E2-7DDE88EDD7F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1.859000000000002</c:v>
                </c:pt>
                <c:pt idx="1">
                  <c:v>23.771000000000001</c:v>
                </c:pt>
                <c:pt idx="2">
                  <c:v>32.604999999999997</c:v>
                </c:pt>
                <c:pt idx="3">
                  <c:v>38.241999999999997</c:v>
                </c:pt>
                <c:pt idx="4">
                  <c:v>22.76</c:v>
                </c:pt>
                <c:pt idx="5">
                  <c:v>20.369</c:v>
                </c:pt>
                <c:pt idx="6">
                  <c:v>25.954999999999998</c:v>
                </c:pt>
                <c:pt idx="7">
                  <c:v>23.54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F8D-486A-A3E2-7DDE88EDD7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E14-4C8E-9DB3-0CBADA60C1B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E14-4C8E-9DB3-0CBADA60C1B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E14-4C8E-9DB3-0CBADA60C1B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DE14-4C8E-9DB3-0CBADA60C1B8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DE14-4C8E-9DB3-0CBADA60C1B8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Сельское хозяйство</c:v>
                </c:pt>
                <c:pt idx="1">
                  <c:v>Горнодобывающая промышленность</c:v>
                </c:pt>
                <c:pt idx="2">
                  <c:v>Водоснабжение и удаление отходов</c:v>
                </c:pt>
                <c:pt idx="3">
                  <c:v>Электро- и энергоснабжение</c:v>
                </c:pt>
                <c:pt idx="4">
                  <c:v>Гос. управление и соц. обеспечение</c:v>
                </c:pt>
                <c:pt idx="5">
                  <c:v>Операции с недвижимостью</c:v>
                </c:pt>
                <c:pt idx="6">
                  <c:v>Искусство и развлечения</c:v>
                </c:pt>
                <c:pt idx="7">
                  <c:v>Информация и связь</c:v>
                </c:pt>
                <c:pt idx="8">
                  <c:v>Проф. и научная деятельность</c:v>
                </c:pt>
                <c:pt idx="9">
                  <c:v>Финансы и страхование</c:v>
                </c:pt>
                <c:pt idx="10">
                  <c:v>Прочие индивидуальные услуги</c:v>
                </c:pt>
                <c:pt idx="11">
                  <c:v>Услуги по проживанию и питанию</c:v>
                </c:pt>
                <c:pt idx="12">
                  <c:v>Транспорт и складирование</c:v>
                </c:pt>
                <c:pt idx="13">
                  <c:v>Строительство </c:v>
                </c:pt>
                <c:pt idx="14">
                  <c:v>Адм. и вспом. обслуживание</c:v>
                </c:pt>
                <c:pt idx="15">
                  <c:v>Обрабатывающая промышленность </c:v>
                </c:pt>
                <c:pt idx="16">
                  <c:v>Здравоохранение</c:v>
                </c:pt>
                <c:pt idx="17">
                  <c:v>Торговля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0.42099999999999999</c:v>
                </c:pt>
                <c:pt idx="1">
                  <c:v>0.51300000000000001</c:v>
                </c:pt>
                <c:pt idx="2">
                  <c:v>0.53</c:v>
                </c:pt>
                <c:pt idx="3">
                  <c:v>0.71299999999999997</c:v>
                </c:pt>
                <c:pt idx="4">
                  <c:v>0.95399999999999996</c:v>
                </c:pt>
                <c:pt idx="5">
                  <c:v>1.099</c:v>
                </c:pt>
                <c:pt idx="6">
                  <c:v>1.2869999999999999</c:v>
                </c:pt>
                <c:pt idx="7">
                  <c:v>1.748</c:v>
                </c:pt>
                <c:pt idx="8">
                  <c:v>2.077</c:v>
                </c:pt>
                <c:pt idx="9">
                  <c:v>2.5680000000000001</c:v>
                </c:pt>
                <c:pt idx="10">
                  <c:v>2.621</c:v>
                </c:pt>
                <c:pt idx="11">
                  <c:v>4.1079999999999997</c:v>
                </c:pt>
                <c:pt idx="12">
                  <c:v>4.7169999999999996</c:v>
                </c:pt>
                <c:pt idx="13">
                  <c:v>5.0659999999999998</c:v>
                </c:pt>
                <c:pt idx="14">
                  <c:v>6.1879999999999997</c:v>
                </c:pt>
                <c:pt idx="15">
                  <c:v>8.3949999999999996</c:v>
                </c:pt>
                <c:pt idx="16">
                  <c:v>11.083</c:v>
                </c:pt>
                <c:pt idx="17">
                  <c:v>11.444000000000001</c:v>
                </c:pt>
                <c:pt idx="18">
                  <c:v>27.100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DE14-4C8E-9DB3-0CBADA60C1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BB3-4FE5-8CBC-A4894C0C2A9D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BB3-4FE5-8CBC-A4894C0C2A9D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19241522999363078</c:v>
                </c:pt>
                <c:pt idx="1">
                  <c:v>0.807584770006369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BB3-4FE5-8CBC-A4894C0C2A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0D70-4589-B821-1B8D06A02B93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D70-4589-B821-1B8D06A02B93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0D70-4589-B821-1B8D06A02B93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0D70-4589-B821-1B8D06A02B93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0D70-4589-B821-1B8D06A02B93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1036</c:v>
                </c:pt>
                <c:pt idx="1">
                  <c:v>6257</c:v>
                </c:pt>
                <c:pt idx="2">
                  <c:v>8145</c:v>
                </c:pt>
                <c:pt idx="3">
                  <c:v>38</c:v>
                </c:pt>
                <c:pt idx="4">
                  <c:v>12859</c:v>
                </c:pt>
                <c:pt idx="5">
                  <c:v>5267</c:v>
                </c:pt>
                <c:pt idx="6">
                  <c:v>9833</c:v>
                </c:pt>
                <c:pt idx="7">
                  <c:v>25936</c:v>
                </c:pt>
                <c:pt idx="8">
                  <c:v>32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70-4589-B821-1B8D06A02B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8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F6-43B1-B324-D62BC7D3AFC9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9F6-43B1-B324-D62BC7D3AFC9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9F6-43B1-B324-D62BC7D3AFC9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9F6-43B1-B324-D62BC7D3AFC9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9F6-43B1-B324-D62BC7D3AFC9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7.04</c:v>
                </c:pt>
                <c:pt idx="1">
                  <c:v>7.9130000000000003</c:v>
                </c:pt>
                <c:pt idx="2">
                  <c:v>9.0589999999999993</c:v>
                </c:pt>
                <c:pt idx="3">
                  <c:v>11.670999999999999</c:v>
                </c:pt>
                <c:pt idx="4">
                  <c:v>7.8769999999999998</c:v>
                </c:pt>
                <c:pt idx="5">
                  <c:v>8.3079999999999998</c:v>
                </c:pt>
                <c:pt idx="6">
                  <c:v>11.387</c:v>
                </c:pt>
                <c:pt idx="7">
                  <c:v>10.0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9F6-43B1-B324-D62BC7D3AF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B4B-466E-91A1-FD3AFEBD434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B4B-466E-91A1-FD3AFEBD434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3B4B-466E-91A1-FD3AFEBD434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3B4B-466E-91A1-FD3AFEBD4342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19</c:f>
              <c:strCache>
                <c:ptCount val="18"/>
                <c:pt idx="0">
                  <c:v>Операции с недвижимостью</c:v>
                </c:pt>
                <c:pt idx="1">
                  <c:v>Информация и связь</c:v>
                </c:pt>
                <c:pt idx="2">
                  <c:v>Финансы и страхование</c:v>
                </c:pt>
                <c:pt idx="3">
                  <c:v>Сельское хозяйство</c:v>
                </c:pt>
                <c:pt idx="4">
                  <c:v>Услуги по проживанию и питанию</c:v>
                </c:pt>
                <c:pt idx="5">
                  <c:v>Водоснабжение и удаление отходов</c:v>
                </c:pt>
                <c:pt idx="6">
                  <c:v>Проф. и научная деятельность</c:v>
                </c:pt>
                <c:pt idx="7">
                  <c:v>Адм. и вспом. обслуживание</c:v>
                </c:pt>
                <c:pt idx="8">
                  <c:v>Электро- и энергоснабжение</c:v>
                </c:pt>
                <c:pt idx="9">
                  <c:v>Транспорт и складирование</c:v>
                </c:pt>
                <c:pt idx="10">
                  <c:v>Искусство и развлечения</c:v>
                </c:pt>
                <c:pt idx="11">
                  <c:v>Прочие индивидуальные услуги</c:v>
                </c:pt>
                <c:pt idx="12">
                  <c:v>Строительство </c:v>
                </c:pt>
                <c:pt idx="13">
                  <c:v>Торговля</c:v>
                </c:pt>
                <c:pt idx="14">
                  <c:v>Обрабатывающая промышленность </c:v>
                </c:pt>
                <c:pt idx="15">
                  <c:v>Гос. управление и соц. обеспечение</c:v>
                </c:pt>
                <c:pt idx="16">
                  <c:v>Здравоохранение</c:v>
                </c:pt>
                <c:pt idx="17">
                  <c:v>Образование</c:v>
                </c:pt>
              </c:strCache>
            </c:strRef>
          </c:cat>
          <c:val>
            <c:numRef>
              <c:f>Лист1!$B$2:$B$19</c:f>
              <c:numCache>
                <c:formatCode>General</c:formatCode>
                <c:ptCount val="18"/>
                <c:pt idx="0">
                  <c:v>9.7000000000000003E-2</c:v>
                </c:pt>
                <c:pt idx="1">
                  <c:v>0.12</c:v>
                </c:pt>
                <c:pt idx="2">
                  <c:v>0.14399999999999999</c:v>
                </c:pt>
                <c:pt idx="3">
                  <c:v>0.17100000000000001</c:v>
                </c:pt>
                <c:pt idx="4">
                  <c:v>0.21199999999999999</c:v>
                </c:pt>
                <c:pt idx="5">
                  <c:v>0.45200000000000001</c:v>
                </c:pt>
                <c:pt idx="6">
                  <c:v>0.84299999999999997</c:v>
                </c:pt>
                <c:pt idx="7">
                  <c:v>0.89800000000000002</c:v>
                </c:pt>
                <c:pt idx="8">
                  <c:v>0.94899999999999995</c:v>
                </c:pt>
                <c:pt idx="9">
                  <c:v>1.21</c:v>
                </c:pt>
                <c:pt idx="10">
                  <c:v>1.929</c:v>
                </c:pt>
                <c:pt idx="11">
                  <c:v>2.0419999999999998</c:v>
                </c:pt>
                <c:pt idx="12">
                  <c:v>2.48</c:v>
                </c:pt>
                <c:pt idx="13">
                  <c:v>3.282</c:v>
                </c:pt>
                <c:pt idx="14">
                  <c:v>3.468</c:v>
                </c:pt>
                <c:pt idx="15">
                  <c:v>4.6459999999999999</c:v>
                </c:pt>
                <c:pt idx="16">
                  <c:v>4.8959999999999999</c:v>
                </c:pt>
                <c:pt idx="17">
                  <c:v>9.820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B4B-466E-91A1-FD3AFEBD43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C5-4A34-99B5-2EF46965A774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C5-4A34-99B5-2EF46965A774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2044024322243169</c:v>
                </c:pt>
                <c:pt idx="1">
                  <c:v>0.77955975677756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AC5-4A34-99B5-2EF46965A7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E08-450F-B998-0503C19D37CB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E08-450F-B998-0503C19D37CB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E08-450F-B998-0503C19D37CB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3E08-450F-B998-0503C19D37CB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E08-450F-B998-0503C19D37CB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1597</c:v>
                </c:pt>
                <c:pt idx="1">
                  <c:v>2659</c:v>
                </c:pt>
                <c:pt idx="2">
                  <c:v>3781</c:v>
                </c:pt>
                <c:pt idx="3">
                  <c:v>76</c:v>
                </c:pt>
                <c:pt idx="4">
                  <c:v>3044</c:v>
                </c:pt>
                <c:pt idx="5">
                  <c:v>1694</c:v>
                </c:pt>
                <c:pt idx="6">
                  <c:v>4109</c:v>
                </c:pt>
                <c:pt idx="7">
                  <c:v>9357</c:v>
                </c:pt>
                <c:pt idx="8">
                  <c:v>13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E08-450F-B998-0503C19D37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8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E91-45C3-841B-371D2BD953C6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E91-45C3-841B-371D2BD953C6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E91-45C3-841B-371D2BD953C6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E91-45C3-841B-371D2BD953C6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1.935</c:v>
                </c:pt>
                <c:pt idx="1">
                  <c:v>23.4</c:v>
                </c:pt>
                <c:pt idx="2">
                  <c:v>21.084</c:v>
                </c:pt>
                <c:pt idx="3">
                  <c:v>30.036999999999999</c:v>
                </c:pt>
                <c:pt idx="4">
                  <c:v>10.452999999999999</c:v>
                </c:pt>
                <c:pt idx="5">
                  <c:v>18.670999999999999</c:v>
                </c:pt>
                <c:pt idx="6">
                  <c:v>23.265999999999998</c:v>
                </c:pt>
                <c:pt idx="7">
                  <c:v>29.547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8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Мангистауская</c:v>
                </c:pt>
                <c:pt idx="2">
                  <c:v>г. Шымкент</c:v>
                </c:pt>
                <c:pt idx="3">
                  <c:v>г. Алматы</c:v>
                </c:pt>
                <c:pt idx="4">
                  <c:v>Атырауская</c:v>
                </c:pt>
                <c:pt idx="5">
                  <c:v>Западно-Казахстанская</c:v>
                </c:pt>
                <c:pt idx="6">
                  <c:v>г. Астана</c:v>
                </c:pt>
                <c:pt idx="7">
                  <c:v>Абай</c:v>
                </c:pt>
                <c:pt idx="8">
                  <c:v>Павлодарская</c:v>
                </c:pt>
                <c:pt idx="9">
                  <c:v>Карагандинская</c:v>
                </c:pt>
                <c:pt idx="10">
                  <c:v>Восточно-Казахстанская</c:v>
                </c:pt>
                <c:pt idx="11">
                  <c:v>Кызылординская</c:v>
                </c:pt>
                <c:pt idx="12">
                  <c:v>Акмолинская</c:v>
                </c:pt>
                <c:pt idx="13">
                  <c:v>Актюбинская</c:v>
                </c:pt>
                <c:pt idx="14">
                  <c:v>Северо-Казахстанская</c:v>
                </c:pt>
                <c:pt idx="15">
                  <c:v>Жетысу</c:v>
                </c:pt>
                <c:pt idx="16">
                  <c:v>Костанайская</c:v>
                </c:pt>
                <c:pt idx="17">
                  <c:v>Алматинская</c:v>
                </c:pt>
                <c:pt idx="18">
                  <c:v>Жамбылская</c:v>
                </c:pt>
                <c:pt idx="19">
                  <c:v>Туркестан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16</c:v>
                </c:pt>
                <c:pt idx="1">
                  <c:v>129</c:v>
                </c:pt>
                <c:pt idx="2">
                  <c:v>171</c:v>
                </c:pt>
                <c:pt idx="3">
                  <c:v>421</c:v>
                </c:pt>
                <c:pt idx="4">
                  <c:v>691</c:v>
                </c:pt>
                <c:pt idx="5">
                  <c:v>1241</c:v>
                </c:pt>
                <c:pt idx="6">
                  <c:v>1750</c:v>
                </c:pt>
                <c:pt idx="7">
                  <c:v>1803</c:v>
                </c:pt>
                <c:pt idx="8">
                  <c:v>1831</c:v>
                </c:pt>
                <c:pt idx="9">
                  <c:v>2553</c:v>
                </c:pt>
                <c:pt idx="10">
                  <c:v>2641</c:v>
                </c:pt>
                <c:pt idx="11">
                  <c:v>3407</c:v>
                </c:pt>
                <c:pt idx="12">
                  <c:v>3895</c:v>
                </c:pt>
                <c:pt idx="13">
                  <c:v>4262</c:v>
                </c:pt>
                <c:pt idx="14">
                  <c:v>4620</c:v>
                </c:pt>
                <c:pt idx="15">
                  <c:v>5741</c:v>
                </c:pt>
                <c:pt idx="16">
                  <c:v>7654</c:v>
                </c:pt>
                <c:pt idx="17">
                  <c:v>8923</c:v>
                </c:pt>
                <c:pt idx="18">
                  <c:v>12620</c:v>
                </c:pt>
                <c:pt idx="19">
                  <c:v>174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0</c:f>
              <c:strCache>
                <c:ptCount val="19"/>
                <c:pt idx="0">
                  <c:v>Информация и связь</c:v>
                </c:pt>
                <c:pt idx="1">
                  <c:v>Финансы и страхование</c:v>
                </c:pt>
                <c:pt idx="2">
                  <c:v>Операции с недвижимостью</c:v>
                </c:pt>
                <c:pt idx="3">
                  <c:v>Прочие индивидуальные услуги</c:v>
                </c:pt>
                <c:pt idx="4">
                  <c:v>Услуги по проживанию и питанию</c:v>
                </c:pt>
                <c:pt idx="5">
                  <c:v>Адм. и вспом. обслуживание</c:v>
                </c:pt>
                <c:pt idx="6">
                  <c:v>Водоснабжение и удаление отходов</c:v>
                </c:pt>
                <c:pt idx="7">
                  <c:v>Искусство и развлечения</c:v>
                </c:pt>
                <c:pt idx="8">
                  <c:v>Строительство </c:v>
                </c:pt>
                <c:pt idx="9">
                  <c:v>Горнодобывающая промышленность</c:v>
                </c:pt>
                <c:pt idx="10">
                  <c:v>Транспорт и складирование</c:v>
                </c:pt>
                <c:pt idx="11">
                  <c:v>Проф. и научная деятельность</c:v>
                </c:pt>
                <c:pt idx="12">
                  <c:v>Торговля</c:v>
                </c:pt>
                <c:pt idx="13">
                  <c:v>Электро- и энергоснабжение</c:v>
                </c:pt>
                <c:pt idx="14">
                  <c:v>Сельское хозяйство</c:v>
                </c:pt>
                <c:pt idx="15">
                  <c:v>Обрабатывающая промышленность </c:v>
                </c:pt>
                <c:pt idx="16">
                  <c:v>Здравоохранение</c:v>
                </c:pt>
                <c:pt idx="17">
                  <c:v>Гос. управление и соц. обеспечение</c:v>
                </c:pt>
                <c:pt idx="18">
                  <c:v>Образование</c:v>
                </c:pt>
              </c:strCache>
            </c:strRef>
          </c:cat>
          <c:val>
            <c:numRef>
              <c:f>Лист1!$B$2:$B$20</c:f>
              <c:numCache>
                <c:formatCode>General</c:formatCode>
                <c:ptCount val="19"/>
                <c:pt idx="0">
                  <c:v>6.0999999999999999E-2</c:v>
                </c:pt>
                <c:pt idx="1">
                  <c:v>7.3999999999999996E-2</c:v>
                </c:pt>
                <c:pt idx="2">
                  <c:v>0.10199999999999999</c:v>
                </c:pt>
                <c:pt idx="3">
                  <c:v>0.17</c:v>
                </c:pt>
                <c:pt idx="4">
                  <c:v>0.38900000000000001</c:v>
                </c:pt>
                <c:pt idx="5">
                  <c:v>0.40899999999999997</c:v>
                </c:pt>
                <c:pt idx="6">
                  <c:v>0.53200000000000003</c:v>
                </c:pt>
                <c:pt idx="7">
                  <c:v>0.72199999999999998</c:v>
                </c:pt>
                <c:pt idx="8">
                  <c:v>0.74</c:v>
                </c:pt>
                <c:pt idx="9">
                  <c:v>1.1120000000000001</c:v>
                </c:pt>
                <c:pt idx="10">
                  <c:v>1.3640000000000001</c:v>
                </c:pt>
                <c:pt idx="11">
                  <c:v>1.4550000000000001</c:v>
                </c:pt>
                <c:pt idx="12">
                  <c:v>1.5549999999999999</c:v>
                </c:pt>
                <c:pt idx="13">
                  <c:v>1.6020000000000001</c:v>
                </c:pt>
                <c:pt idx="14">
                  <c:v>1.8029999999999999</c:v>
                </c:pt>
                <c:pt idx="15">
                  <c:v>2.5179999999999998</c:v>
                </c:pt>
                <c:pt idx="16">
                  <c:v>2.9180000000000001</c:v>
                </c:pt>
                <c:pt idx="17">
                  <c:v>4.2750000000000004</c:v>
                </c:pt>
                <c:pt idx="18">
                  <c:v>8.733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20347091703483122</c:v>
                </c:pt>
                <c:pt idx="1">
                  <c:v>0.796529082965168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57669</c:v>
                </c:pt>
                <c:pt idx="1">
                  <c:v>6680</c:v>
                </c:pt>
                <c:pt idx="2">
                  <c:v>2759</c:v>
                </c:pt>
                <c:pt idx="3">
                  <c:v>7143</c:v>
                </c:pt>
                <c:pt idx="4">
                  <c:v>2420</c:v>
                </c:pt>
                <c:pt idx="5">
                  <c:v>487</c:v>
                </c:pt>
                <c:pt idx="6">
                  <c:v>1247</c:v>
                </c:pt>
                <c:pt idx="7">
                  <c:v>2796</c:v>
                </c:pt>
                <c:pt idx="8">
                  <c:v>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9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47F5-4479-ADA0-14533CC8E4A4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47F5-4479-ADA0-14533CC8E4A4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47F5-4479-ADA0-14533CC8E4A4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47F5-4479-ADA0-14533CC8E4A4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.629</c:v>
                </c:pt>
                <c:pt idx="1">
                  <c:v>3.4209999999999998</c:v>
                </c:pt>
                <c:pt idx="2">
                  <c:v>3.4620000000000002</c:v>
                </c:pt>
                <c:pt idx="3">
                  <c:v>2.8490000000000002</c:v>
                </c:pt>
                <c:pt idx="4">
                  <c:v>2.5030000000000001</c:v>
                </c:pt>
                <c:pt idx="5">
                  <c:v>2.9540000000000002</c:v>
                </c:pt>
                <c:pt idx="6">
                  <c:v>3.65</c:v>
                </c:pt>
                <c:pt idx="7">
                  <c:v>3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г. Шымкент</c:v>
                </c:pt>
                <c:pt idx="1">
                  <c:v>Северо-Казахстанская</c:v>
                </c:pt>
                <c:pt idx="2">
                  <c:v>Жетысу</c:v>
                </c:pt>
                <c:pt idx="3">
                  <c:v>Жамбылская</c:v>
                </c:pt>
                <c:pt idx="4">
                  <c:v>Алматинская</c:v>
                </c:pt>
                <c:pt idx="5">
                  <c:v>Туркестанская</c:v>
                </c:pt>
                <c:pt idx="6">
                  <c:v>Улытау</c:v>
                </c:pt>
                <c:pt idx="7">
                  <c:v>Мангистауская</c:v>
                </c:pt>
                <c:pt idx="8">
                  <c:v>г. Астана</c:v>
                </c:pt>
                <c:pt idx="9">
                  <c:v>Акмолинская</c:v>
                </c:pt>
                <c:pt idx="10">
                  <c:v>Западно-Казахстанская</c:v>
                </c:pt>
                <c:pt idx="11">
                  <c:v>Кызылординская</c:v>
                </c:pt>
                <c:pt idx="12">
                  <c:v>г. Алматы</c:v>
                </c:pt>
                <c:pt idx="13">
                  <c:v>Атырауская</c:v>
                </c:pt>
                <c:pt idx="14">
                  <c:v>Актюбинская</c:v>
                </c:pt>
                <c:pt idx="15">
                  <c:v>Абай</c:v>
                </c:pt>
                <c:pt idx="16">
                  <c:v>Карагандинская</c:v>
                </c:pt>
                <c:pt idx="17">
                  <c:v>Павлодарская</c:v>
                </c:pt>
                <c:pt idx="18">
                  <c:v>Костанайская</c:v>
                </c:pt>
                <c:pt idx="19">
                  <c:v>Восточно-Казахстан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1</c:v>
                </c:pt>
                <c:pt idx="1">
                  <c:v>14</c:v>
                </c:pt>
                <c:pt idx="2">
                  <c:v>72</c:v>
                </c:pt>
                <c:pt idx="3">
                  <c:v>84</c:v>
                </c:pt>
                <c:pt idx="4">
                  <c:v>218</c:v>
                </c:pt>
                <c:pt idx="5">
                  <c:v>275</c:v>
                </c:pt>
                <c:pt idx="6">
                  <c:v>276</c:v>
                </c:pt>
                <c:pt idx="7">
                  <c:v>299</c:v>
                </c:pt>
                <c:pt idx="8">
                  <c:v>381</c:v>
                </c:pt>
                <c:pt idx="9">
                  <c:v>403</c:v>
                </c:pt>
                <c:pt idx="10">
                  <c:v>447</c:v>
                </c:pt>
                <c:pt idx="11">
                  <c:v>454</c:v>
                </c:pt>
                <c:pt idx="12">
                  <c:v>513</c:v>
                </c:pt>
                <c:pt idx="13">
                  <c:v>516</c:v>
                </c:pt>
                <c:pt idx="14">
                  <c:v>882</c:v>
                </c:pt>
                <c:pt idx="15">
                  <c:v>1112</c:v>
                </c:pt>
                <c:pt idx="16">
                  <c:v>1143</c:v>
                </c:pt>
                <c:pt idx="17">
                  <c:v>1487</c:v>
                </c:pt>
                <c:pt idx="18">
                  <c:v>1880</c:v>
                </c:pt>
                <c:pt idx="19">
                  <c:v>23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70782214581542546</c:v>
                </c:pt>
                <c:pt idx="1">
                  <c:v>0.292177854184574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1052</c:v>
                </c:pt>
                <c:pt idx="1">
                  <c:v>5418</c:v>
                </c:pt>
                <c:pt idx="2">
                  <c:v>3601</c:v>
                </c:pt>
                <c:pt idx="3">
                  <c:v>1</c:v>
                </c:pt>
                <c:pt idx="4">
                  <c:v>98</c:v>
                </c:pt>
                <c:pt idx="5">
                  <c:v>244</c:v>
                </c:pt>
                <c:pt idx="6">
                  <c:v>479</c:v>
                </c:pt>
                <c:pt idx="7">
                  <c:v>1355</c:v>
                </c:pt>
                <c:pt idx="8">
                  <c:v>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hart9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0.10124132595792393"/>
          <c:w val="0.85857439163368143"/>
          <c:h val="0.801935004510685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14345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659-46E6-8F4D-811E77B2BF07}"/>
              </c:ext>
            </c:extLst>
          </c:dPt>
          <c:dPt>
            <c:idx val="1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659-46E6-8F4D-811E77B2BF07}"/>
              </c:ext>
            </c:extLst>
          </c:dPt>
          <c:dPt>
            <c:idx val="2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659-46E6-8F4D-811E77B2BF07}"/>
              </c:ext>
            </c:extLst>
          </c:dPt>
          <c:dPt>
            <c:idx val="3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659-46E6-8F4D-811E77B2BF07}"/>
              </c:ext>
            </c:extLst>
          </c:dPt>
          <c:dPt>
            <c:idx val="4"/>
            <c:invertIfNegative val="0"/>
            <c:bubble3D val="0"/>
            <c:spPr>
              <a:solidFill>
                <a:srgbClr val="14345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rgbClr val="143452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9</c:f>
              <c:strCache>
                <c:ptCount val="8"/>
                <c:pt idx="0">
                  <c:v>2023 Q1</c:v>
                </c:pt>
                <c:pt idx="1">
                  <c:v>2023 Q2</c:v>
                </c:pt>
                <c:pt idx="2">
                  <c:v>2023 Q3</c:v>
                </c:pt>
                <c:pt idx="3">
                  <c:v>2023 Q4</c:v>
                </c:pt>
                <c:pt idx="4">
                  <c:v>2024 Q1</c:v>
                </c:pt>
                <c:pt idx="5">
                  <c:v>2024 Q2</c:v>
                </c:pt>
                <c:pt idx="6">
                  <c:v>2024 Q3</c:v>
                </c:pt>
                <c:pt idx="7">
                  <c:v>2024 Q4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20.786999999999999</c:v>
                </c:pt>
                <c:pt idx="1">
                  <c:v>24.341000000000001</c:v>
                </c:pt>
                <c:pt idx="2">
                  <c:v>23.536999999999999</c:v>
                </c:pt>
                <c:pt idx="3">
                  <c:v>24.494</c:v>
                </c:pt>
                <c:pt idx="4">
                  <c:v>16.716000000000001</c:v>
                </c:pt>
                <c:pt idx="5">
                  <c:v>20.472000000000001</c:v>
                </c:pt>
                <c:pt idx="6">
                  <c:v>25.922999999999998</c:v>
                </c:pt>
                <c:pt idx="7">
                  <c:v>23.408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overlap val="-27"/>
        <c:axId val="264825656"/>
        <c:axId val="264823496"/>
      </c:barChart>
      <c:catAx>
        <c:axId val="2648256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Тыс.</a:t>
                </a:r>
                <a:r>
                  <a:rPr lang="ru-RU" sz="700" baseline="0" dirty="0"/>
                  <a:t> 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>
                  <a:lumMod val="75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21</c:f>
              <c:strCache>
                <c:ptCount val="20"/>
                <c:pt idx="0">
                  <c:v>Улытау</c:v>
                </c:pt>
                <c:pt idx="1">
                  <c:v>Жетысу</c:v>
                </c:pt>
                <c:pt idx="2">
                  <c:v>Кызылординская</c:v>
                </c:pt>
                <c:pt idx="3">
                  <c:v>Атырауская</c:v>
                </c:pt>
                <c:pt idx="4">
                  <c:v>Мангистауская</c:v>
                </c:pt>
                <c:pt idx="5">
                  <c:v>Западно-Казахстанская</c:v>
                </c:pt>
                <c:pt idx="6">
                  <c:v>Абай</c:v>
                </c:pt>
                <c:pt idx="7">
                  <c:v>Жамбылская</c:v>
                </c:pt>
                <c:pt idx="8">
                  <c:v>г. Шымкент</c:v>
                </c:pt>
                <c:pt idx="9">
                  <c:v>Актюбинская</c:v>
                </c:pt>
                <c:pt idx="10">
                  <c:v>Алматинская</c:v>
                </c:pt>
                <c:pt idx="11">
                  <c:v>Туркестанская</c:v>
                </c:pt>
                <c:pt idx="12">
                  <c:v>Акмолинская</c:v>
                </c:pt>
                <c:pt idx="13">
                  <c:v>Северо-Казахстанская</c:v>
                </c:pt>
                <c:pt idx="14">
                  <c:v>Восточно-Казахстанская</c:v>
                </c:pt>
                <c:pt idx="15">
                  <c:v>Костанайская</c:v>
                </c:pt>
                <c:pt idx="16">
                  <c:v>г. Астана</c:v>
                </c:pt>
                <c:pt idx="17">
                  <c:v>г. Алматы</c:v>
                </c:pt>
                <c:pt idx="18">
                  <c:v>Карагандинская</c:v>
                </c:pt>
                <c:pt idx="19">
                  <c:v>Павлодарская</c:v>
                </c:pt>
              </c:strCache>
            </c:strRef>
          </c:cat>
          <c:val>
            <c:numRef>
              <c:f>Лист1!$B$2:$B$21</c:f>
              <c:numCache>
                <c:formatCode>General</c:formatCode>
                <c:ptCount val="20"/>
                <c:pt idx="0">
                  <c:v>946</c:v>
                </c:pt>
                <c:pt idx="1">
                  <c:v>991</c:v>
                </c:pt>
                <c:pt idx="2">
                  <c:v>1381</c:v>
                </c:pt>
                <c:pt idx="3">
                  <c:v>1749</c:v>
                </c:pt>
                <c:pt idx="4">
                  <c:v>1953</c:v>
                </c:pt>
                <c:pt idx="5">
                  <c:v>2001</c:v>
                </c:pt>
                <c:pt idx="6">
                  <c:v>2518</c:v>
                </c:pt>
                <c:pt idx="7">
                  <c:v>2615</c:v>
                </c:pt>
                <c:pt idx="8">
                  <c:v>3468</c:v>
                </c:pt>
                <c:pt idx="9">
                  <c:v>3550</c:v>
                </c:pt>
                <c:pt idx="10">
                  <c:v>3727</c:v>
                </c:pt>
                <c:pt idx="11">
                  <c:v>4097</c:v>
                </c:pt>
                <c:pt idx="12">
                  <c:v>4157</c:v>
                </c:pt>
                <c:pt idx="13">
                  <c:v>4836</c:v>
                </c:pt>
                <c:pt idx="14">
                  <c:v>5027</c:v>
                </c:pt>
                <c:pt idx="15">
                  <c:v>5256</c:v>
                </c:pt>
                <c:pt idx="16">
                  <c:v>5360</c:v>
                </c:pt>
                <c:pt idx="17">
                  <c:v>8395</c:v>
                </c:pt>
                <c:pt idx="18">
                  <c:v>8840</c:v>
                </c:pt>
                <c:pt idx="19">
                  <c:v>156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dirty="0"/>
                  <a:t>Единиц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ru-KZ"/>
            </a:p>
          </c:tx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5916722940856374"/>
          <c:y val="0.10972544203174171"/>
          <c:w val="0.48166554118287253"/>
          <c:h val="0.78054911593651655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личество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C7-4A99-9A89-883E6BAA4388}"/>
              </c:ext>
            </c:extLst>
          </c:dPt>
          <c:dPt>
            <c:idx val="1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C7-4A99-9A89-883E6BAA4388}"/>
              </c:ext>
            </c:extLst>
          </c:dPt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нерабочая профессия</c:v>
                </c:pt>
                <c:pt idx="1">
                  <c:v>рабочая профессия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0.60135228848821087</c:v>
                </c:pt>
                <c:pt idx="1">
                  <c:v>0.398647711511789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C7-4A99-9A89-883E6BAA43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3">
    <c:autoUpdate val="0"/>
  </c:externalData>
</c:chartSpace>
</file>

<file path=ppt/charts/chart9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44261107518659"/>
          <c:y val="2.1490126486441406E-2"/>
          <c:w val="0.85857439163368143"/>
          <c:h val="0.881686117927826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AAB-4396-B33D-F296ABADFDB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AAB-4396-B33D-F296ABADFDB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AAAB-4396-B33D-F296ABADFDB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AAAB-4396-B33D-F296ABADFDB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9A6-4B24-BEFC-A06E986AA907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accent2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K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10</c:f>
              <c:numCache>
                <c:formatCode>General</c:formatCode>
                <c:ptCount val="9"/>
              </c:numCache>
            </c:num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20829</c:v>
                </c:pt>
                <c:pt idx="1">
                  <c:v>20682</c:v>
                </c:pt>
                <c:pt idx="2">
                  <c:v>30238</c:v>
                </c:pt>
                <c:pt idx="3">
                  <c:v>153</c:v>
                </c:pt>
                <c:pt idx="4">
                  <c:v>2254</c:v>
                </c:pt>
                <c:pt idx="5">
                  <c:v>1125</c:v>
                </c:pt>
                <c:pt idx="6">
                  <c:v>3497</c:v>
                </c:pt>
                <c:pt idx="7">
                  <c:v>5770</c:v>
                </c:pt>
                <c:pt idx="8">
                  <c:v>19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99A6-4B24-BEFC-A06E986AA9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4"/>
        <c:axId val="264825656"/>
        <c:axId val="264823496"/>
      </c:barChart>
      <c:catAx>
        <c:axId val="264825656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317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3496"/>
        <c:crosses val="autoZero"/>
        <c:auto val="1"/>
        <c:lblAlgn val="ctr"/>
        <c:lblOffset val="100"/>
        <c:noMultiLvlLbl val="0"/>
      </c:catAx>
      <c:valAx>
        <c:axId val="264823496"/>
        <c:scaling>
          <c:orientation val="minMax"/>
        </c:scaling>
        <c:delete val="0"/>
        <c:axPos val="b"/>
        <c:majorGridlines>
          <c:spPr>
            <a:ln w="317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ru-RU" sz="700" baseline="0" dirty="0"/>
                  <a:t>Единиц</a:t>
                </a:r>
                <a:endParaRPr lang="ru-RU" sz="700" dirty="0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#,##0" sourceLinked="0"/>
        <c:majorTickMark val="out"/>
        <c:minorTickMark val="none"/>
        <c:tickLblPos val="nextTo"/>
        <c:spPr>
          <a:noFill/>
          <a:ln w="3175"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KZ"/>
          </a:p>
        </c:txPr>
        <c:crossAx val="264825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KZ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0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EB0B98-164E-4CA9-8586-E121EE38CD36}" type="datetimeFigureOut">
              <a:rPr lang="ru-RU" smtClean="0"/>
              <a:t>25.04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71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710"/>
            <a:ext cx="2946400" cy="4979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A332FE-0D56-4B98-A320-E45BB9D3F22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17038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4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/>
          <a:lstStyle>
            <a:lvl1pPr algn="r">
              <a:defRPr sz="1200"/>
            </a:lvl1pPr>
          </a:lstStyle>
          <a:p>
            <a:fld id="{D01E911F-B7A3-4A48-9377-5B09C9E52E95}" type="datetimeFigureOut">
              <a:rPr lang="en-US" smtClean="0"/>
              <a:t>4/25/202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6" rIns="91431" bIns="45716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3"/>
          </a:xfrm>
          <a:prstGeom prst="rect">
            <a:avLst/>
          </a:prstGeom>
        </p:spPr>
        <p:txBody>
          <a:bodyPr vert="horz" lIns="91431" tIns="45716" rIns="91431" bIns="4571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8585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31" tIns="45716" rIns="91431" bIns="45716" rtlCol="0" anchor="b"/>
          <a:lstStyle>
            <a:lvl1pPr algn="r">
              <a:defRPr sz="1200"/>
            </a:lvl1pPr>
          </a:lstStyle>
          <a:p>
            <a:fld id="{19E3A98F-50AD-4B46-943E-262E6AC236D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3871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7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7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10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46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8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819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56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93" algn="l" defTabSz="91427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7340D6-81E4-328E-C55E-35AAE2A2ED0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766AC39A-E1C7-7E02-FDE3-4CDC5F04D49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3AA2EE3D-E7B6-5545-81F1-3C04200B7B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4D66F0BF-89F7-9158-BCC6-5D949900BBD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222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топ-100 рабочих профессий приходится 266 тыс. вакансий, или 90% от их общего количеств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64228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DAB52F-A0AC-2981-2B0A-94D80BF127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>
            <a:extLst>
              <a:ext uri="{FF2B5EF4-FFF2-40B4-BE49-F238E27FC236}">
                <a16:creationId xmlns:a16="http://schemas.microsoft.com/office/drawing/2014/main" id="{8C03E142-41B6-B14B-F043-3B5E3131727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>
            <a:extLst>
              <a:ext uri="{FF2B5EF4-FFF2-40B4-BE49-F238E27FC236}">
                <a16:creationId xmlns:a16="http://schemas.microsoft.com/office/drawing/2014/main" id="{7441A129-9BDC-74AA-36D7-82EE61AA904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топ-100 профессий приходится </a:t>
            </a:r>
            <a:r>
              <a:rPr lang="en-US" dirty="0"/>
              <a:t>455 </a:t>
            </a:r>
            <a:r>
              <a:rPr lang="ru-RU" dirty="0"/>
              <a:t>тыс. вакансий, или </a:t>
            </a:r>
            <a:r>
              <a:rPr lang="en-US"/>
              <a:t>56</a:t>
            </a:r>
            <a:r>
              <a:rPr lang="ru-RU"/>
              <a:t>% </a:t>
            </a:r>
            <a:r>
              <a:rPr lang="ru-RU" dirty="0"/>
              <a:t>от их общего количества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A1F0B205-D165-32BF-CB06-EDF28971D0C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9E3A98F-50AD-4B46-943E-262E6AC236D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4107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92034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ED95EFD-A93F-4801-906A-29829A0DB50C}"/>
              </a:ext>
            </a:extLst>
          </p:cNvPr>
          <p:cNvSpPr/>
          <p:nvPr userDrawn="1"/>
        </p:nvSpPr>
        <p:spPr>
          <a:xfrm>
            <a:off x="2862" y="6576060"/>
            <a:ext cx="12189138" cy="281940"/>
          </a:xfrm>
          <a:prstGeom prst="rect">
            <a:avLst/>
          </a:prstGeom>
          <a:solidFill>
            <a:srgbClr val="0A1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7087" tIns="43543" rIns="87087" bIns="4354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767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AE1CAFC-8FAA-43E4-90CF-F4B268524A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00" y="1"/>
            <a:ext cx="12120000" cy="661660"/>
          </a:xfrm>
          <a:prstGeom prst="rect">
            <a:avLst/>
          </a:prstGeom>
        </p:spPr>
        <p:txBody>
          <a:bodyPr anchor="ctr"/>
          <a:lstStyle>
            <a:lvl1pPr>
              <a:defRPr sz="2800" b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Номер слайда 1">
            <a:extLst>
              <a:ext uri="{FF2B5EF4-FFF2-40B4-BE49-F238E27FC236}">
                <a16:creationId xmlns:a16="http://schemas.microsoft.com/office/drawing/2014/main" id="{35E13FE2-8363-4B32-997E-7AD8F8C0C9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006135" y="6576056"/>
            <a:ext cx="1109665" cy="281940"/>
          </a:xfrm>
          <a:prstGeom prst="rect">
            <a:avLst/>
          </a:prstGeom>
        </p:spPr>
        <p:txBody>
          <a:bodyPr rIns="0" anchor="ctr"/>
          <a:lstStyle>
            <a:lvl1pPr algn="r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060C6F1-8618-4CCA-B45E-7B199C8F5830}" type="slidenum">
              <a:rPr lang="ru-RU" smtClean="0"/>
              <a:pPr/>
              <a:t>‹#›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3DB36E7A-75B2-4AC4-B777-A38EEA2D1EF8}"/>
              </a:ext>
            </a:extLst>
          </p:cNvPr>
          <p:cNvSpPr/>
          <p:nvPr userDrawn="1"/>
        </p:nvSpPr>
        <p:spPr>
          <a:xfrm>
            <a:off x="0" y="1"/>
            <a:ext cx="72000" cy="661660"/>
          </a:xfrm>
          <a:prstGeom prst="rect">
            <a:avLst/>
          </a:prstGeom>
          <a:solidFill>
            <a:srgbClr val="0A11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1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EE17A22-AA1A-49A0-12CC-92B43E3149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9" y="6577409"/>
            <a:ext cx="1109665" cy="275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977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22" y="2121"/>
          <a:ext cx="2116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2" y="2121"/>
                        <a:ext cx="2116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2386972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3" r:id="rId1"/>
    <p:sldLayoutId id="2147483690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chemeClr val="bg2"/>
          </a:solidFill>
          <a:latin typeface="Calibri" panose="020F0502020204030204" pitchFamily="34" charset="0"/>
          <a:ea typeface="Calibri" panose="020F0502020204030204" pitchFamily="34" charset="0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FontTx/>
        <a:buNone/>
        <a:defRPr sz="1867" b="0" i="0" u="none" strike="noStrike" cap="none">
          <a:solidFill>
            <a:srgbClr val="000000"/>
          </a:solidFill>
          <a:latin typeface="Calibri" panose="020F0502020204030204" pitchFamily="34" charset="0"/>
          <a:ea typeface="MS Mincho" panose="02020609040205080304" pitchFamily="49" charset="-128"/>
          <a:cs typeface="MoolBoran" panose="020B0100010101010101" pitchFamily="34" charset="0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None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.xml"/><Relationship Id="rId4" Type="http://schemas.openxmlformats.org/officeDocument/2006/relationships/chart" Target="../charts/char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9.xml"/><Relationship Id="rId4" Type="http://schemas.openxmlformats.org/officeDocument/2006/relationships/chart" Target="../charts/chart1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3.xml"/><Relationship Id="rId4" Type="http://schemas.openxmlformats.org/officeDocument/2006/relationships/chart" Target="../charts/chart2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5.xml"/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7.xml"/><Relationship Id="rId4" Type="http://schemas.openxmlformats.org/officeDocument/2006/relationships/chart" Target="../charts/chart2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1.xml"/><Relationship Id="rId4" Type="http://schemas.openxmlformats.org/officeDocument/2006/relationships/chart" Target="../charts/chart3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5.xml"/><Relationship Id="rId4" Type="http://schemas.openxmlformats.org/officeDocument/2006/relationships/chart" Target="../charts/chart3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9.xml"/><Relationship Id="rId4" Type="http://schemas.openxmlformats.org/officeDocument/2006/relationships/chart" Target="../charts/chart38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3.xml"/><Relationship Id="rId4" Type="http://schemas.openxmlformats.org/officeDocument/2006/relationships/chart" Target="../charts/chart4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5.xml"/><Relationship Id="rId2" Type="http://schemas.openxmlformats.org/officeDocument/2006/relationships/chart" Target="../charts/chart4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7.xml"/><Relationship Id="rId4" Type="http://schemas.openxmlformats.org/officeDocument/2006/relationships/chart" Target="../charts/chart4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9.xml"/><Relationship Id="rId2" Type="http://schemas.openxmlformats.org/officeDocument/2006/relationships/chart" Target="../charts/chart4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1.xml"/><Relationship Id="rId4" Type="http://schemas.openxmlformats.org/officeDocument/2006/relationships/chart" Target="../charts/chart5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3.xml"/><Relationship Id="rId2" Type="http://schemas.openxmlformats.org/officeDocument/2006/relationships/chart" Target="../charts/chart5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5.xml"/><Relationship Id="rId4" Type="http://schemas.openxmlformats.org/officeDocument/2006/relationships/chart" Target="../charts/chart5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7.xml"/><Relationship Id="rId2" Type="http://schemas.openxmlformats.org/officeDocument/2006/relationships/chart" Target="../charts/chart5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59.xml"/><Relationship Id="rId4" Type="http://schemas.openxmlformats.org/officeDocument/2006/relationships/chart" Target="../charts/chart5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1.xml"/><Relationship Id="rId2" Type="http://schemas.openxmlformats.org/officeDocument/2006/relationships/chart" Target="../charts/chart6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3.xml"/><Relationship Id="rId4" Type="http://schemas.openxmlformats.org/officeDocument/2006/relationships/chart" Target="../charts/chart6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5.xml"/><Relationship Id="rId2" Type="http://schemas.openxmlformats.org/officeDocument/2006/relationships/chart" Target="../charts/chart6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67.xml"/><Relationship Id="rId4" Type="http://schemas.openxmlformats.org/officeDocument/2006/relationships/chart" Target="../charts/chart6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9.xml"/><Relationship Id="rId2" Type="http://schemas.openxmlformats.org/officeDocument/2006/relationships/chart" Target="../charts/chart6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1.xml"/><Relationship Id="rId4" Type="http://schemas.openxmlformats.org/officeDocument/2006/relationships/chart" Target="../charts/chart70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3.xml"/><Relationship Id="rId2" Type="http://schemas.openxmlformats.org/officeDocument/2006/relationships/chart" Target="../charts/chart7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5.xml"/><Relationship Id="rId4" Type="http://schemas.openxmlformats.org/officeDocument/2006/relationships/chart" Target="../charts/chart7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7.xml"/><Relationship Id="rId2" Type="http://schemas.openxmlformats.org/officeDocument/2006/relationships/chart" Target="../charts/chart7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79.xml"/><Relationship Id="rId4" Type="http://schemas.openxmlformats.org/officeDocument/2006/relationships/chart" Target="../charts/chart78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1.xml"/><Relationship Id="rId2" Type="http://schemas.openxmlformats.org/officeDocument/2006/relationships/chart" Target="../charts/chart8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3.xml"/><Relationship Id="rId4" Type="http://schemas.openxmlformats.org/officeDocument/2006/relationships/chart" Target="../charts/chart8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5.xml"/><Relationship Id="rId2" Type="http://schemas.openxmlformats.org/officeDocument/2006/relationships/chart" Target="../charts/chart8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87.xml"/><Relationship Id="rId4" Type="http://schemas.openxmlformats.org/officeDocument/2006/relationships/chart" Target="../charts/chart86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9.xml"/><Relationship Id="rId2" Type="http://schemas.openxmlformats.org/officeDocument/2006/relationships/chart" Target="../charts/chart8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1.xml"/><Relationship Id="rId4" Type="http://schemas.openxmlformats.org/officeDocument/2006/relationships/chart" Target="../charts/chart90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3.xml"/><Relationship Id="rId2" Type="http://schemas.openxmlformats.org/officeDocument/2006/relationships/chart" Target="../charts/chart9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5.xml"/><Relationship Id="rId4" Type="http://schemas.openxmlformats.org/officeDocument/2006/relationships/chart" Target="../charts/chart94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7.xml"/><Relationship Id="rId2" Type="http://schemas.openxmlformats.org/officeDocument/2006/relationships/chart" Target="../charts/chart9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99.xml"/><Relationship Id="rId4" Type="http://schemas.openxmlformats.org/officeDocument/2006/relationships/chart" Target="../charts/chart98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1.xml"/><Relationship Id="rId2" Type="http://schemas.openxmlformats.org/officeDocument/2006/relationships/chart" Target="../charts/chart10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03.xml"/><Relationship Id="rId4" Type="http://schemas.openxmlformats.org/officeDocument/2006/relationships/chart" Target="../charts/chart10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5.xml"/><Relationship Id="rId2" Type="http://schemas.openxmlformats.org/officeDocument/2006/relationships/chart" Target="../charts/chart10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07.xml"/><Relationship Id="rId4" Type="http://schemas.openxmlformats.org/officeDocument/2006/relationships/chart" Target="../charts/chart10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9.xml"/><Relationship Id="rId2" Type="http://schemas.openxmlformats.org/officeDocument/2006/relationships/chart" Target="../charts/chart10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1.xml"/><Relationship Id="rId4" Type="http://schemas.openxmlformats.org/officeDocument/2006/relationships/chart" Target="../charts/chart110.xml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3.xml"/><Relationship Id="rId2" Type="http://schemas.openxmlformats.org/officeDocument/2006/relationships/chart" Target="../charts/chart11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5.xml"/><Relationship Id="rId4" Type="http://schemas.openxmlformats.org/officeDocument/2006/relationships/chart" Target="../charts/chart114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7.xml"/><Relationship Id="rId2" Type="http://schemas.openxmlformats.org/officeDocument/2006/relationships/chart" Target="../charts/chart11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19.xml"/><Relationship Id="rId4" Type="http://schemas.openxmlformats.org/officeDocument/2006/relationships/chart" Target="../charts/chart118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1.xml"/><Relationship Id="rId2" Type="http://schemas.openxmlformats.org/officeDocument/2006/relationships/chart" Target="../charts/chart12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3.xml"/><Relationship Id="rId4" Type="http://schemas.openxmlformats.org/officeDocument/2006/relationships/chart" Target="../charts/chart122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5.xml"/><Relationship Id="rId2" Type="http://schemas.openxmlformats.org/officeDocument/2006/relationships/chart" Target="../charts/chart12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27.xml"/><Relationship Id="rId4" Type="http://schemas.openxmlformats.org/officeDocument/2006/relationships/chart" Target="../charts/chart1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9.xml"/><Relationship Id="rId2" Type="http://schemas.openxmlformats.org/officeDocument/2006/relationships/chart" Target="../charts/chart12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1.xml"/><Relationship Id="rId4" Type="http://schemas.openxmlformats.org/officeDocument/2006/relationships/chart" Target="../charts/chart13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3.xml"/><Relationship Id="rId2" Type="http://schemas.openxmlformats.org/officeDocument/2006/relationships/chart" Target="../charts/chart13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5.xml"/><Relationship Id="rId4" Type="http://schemas.openxmlformats.org/officeDocument/2006/relationships/chart" Target="../charts/chart134.xml"/></Relationships>
</file>

<file path=ppt/slides/_rels/slide7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7.xml"/><Relationship Id="rId2" Type="http://schemas.openxmlformats.org/officeDocument/2006/relationships/chart" Target="../charts/chart13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9.xml"/><Relationship Id="rId4" Type="http://schemas.openxmlformats.org/officeDocument/2006/relationships/chart" Target="../charts/chart138.xml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1.xml"/><Relationship Id="rId2" Type="http://schemas.openxmlformats.org/officeDocument/2006/relationships/chart" Target="../charts/chart14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43.xml"/><Relationship Id="rId4" Type="http://schemas.openxmlformats.org/officeDocument/2006/relationships/chart" Target="../charts/chart142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5.xml"/><Relationship Id="rId2" Type="http://schemas.openxmlformats.org/officeDocument/2006/relationships/chart" Target="../charts/chart144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47.xml"/><Relationship Id="rId4" Type="http://schemas.openxmlformats.org/officeDocument/2006/relationships/chart" Target="../charts/chart14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9.xml"/><Relationship Id="rId2" Type="http://schemas.openxmlformats.org/officeDocument/2006/relationships/chart" Target="../charts/chart148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1.xml"/><Relationship Id="rId4" Type="http://schemas.openxmlformats.org/officeDocument/2006/relationships/chart" Target="../charts/chart150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3.xml"/><Relationship Id="rId2" Type="http://schemas.openxmlformats.org/officeDocument/2006/relationships/chart" Target="../charts/chart152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5.xml"/><Relationship Id="rId4" Type="http://schemas.openxmlformats.org/officeDocument/2006/relationships/chart" Target="../charts/chart154.xml"/></Relationships>
</file>

<file path=ppt/slides/_rels/slide8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7.xml"/><Relationship Id="rId2" Type="http://schemas.openxmlformats.org/officeDocument/2006/relationships/chart" Target="../charts/chart156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59.xml"/><Relationship Id="rId4" Type="http://schemas.openxmlformats.org/officeDocument/2006/relationships/chart" Target="../charts/chart158.xml"/></Relationships>
</file>

<file path=ppt/slides/_rels/slide8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1.xml"/><Relationship Id="rId2" Type="http://schemas.openxmlformats.org/officeDocument/2006/relationships/chart" Target="../charts/chart16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63.xml"/><Relationship Id="rId4" Type="http://schemas.openxmlformats.org/officeDocument/2006/relationships/chart" Target="../charts/chart162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7BD806E5-1038-32F5-5579-391B9430FE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80886" y="4362102"/>
            <a:ext cx="6011114" cy="249589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77D8C3D5-8521-F2DB-3A98-50162C0DC05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8" y="-9642"/>
            <a:ext cx="4820088" cy="128926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CEEA90-EDF0-E609-08E0-CC70AB569296}"/>
              </a:ext>
            </a:extLst>
          </p:cNvPr>
          <p:cNvSpPr txBox="1">
            <a:spLocks/>
          </p:cNvSpPr>
          <p:nvPr/>
        </p:nvSpPr>
        <p:spPr>
          <a:xfrm>
            <a:off x="2205872" y="2696066"/>
            <a:ext cx="7852256" cy="1375601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800" b="1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аткосрочный </a:t>
            </a:r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ноз вакансий на базе Электронной биржи труда</a:t>
            </a:r>
          </a:p>
          <a:p>
            <a:pPr algn="ctr" defTabSz="914400"/>
            <a:r>
              <a:rPr lang="ru-RU" sz="2800" b="1" dirty="0">
                <a:solidFill>
                  <a:srgbClr val="0A112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2025 год</a:t>
            </a:r>
          </a:p>
        </p:txBody>
      </p:sp>
    </p:spTree>
    <p:extLst>
      <p:ext uri="{BB962C8B-B14F-4D97-AF65-F5344CB8AC3E}">
        <p14:creationId xmlns:p14="http://schemas.microsoft.com/office/powerpoint/2010/main" val="31326847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66A7B3-E713-264E-A50F-440B956AF9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20BBDD-27F9-C772-11A3-F0379D96E4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ласть Абай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9B73B53-8823-F855-DB13-0D29BE4AC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8CAA0F36-0C8C-120B-E137-EC0F30BC949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CCBB5D8-89E3-A0EB-3C62-86506564D3D1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C45A3A8-EF38-F8BB-9BA1-558EEBB95B8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257D9529-E987-99BC-C304-449664F9A33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CCFBCF4-D356-6F8C-E90E-3EC49B1144E3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4998730-F785-0662-69C3-DD7C661C017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0BBB920-CF83-C4E3-6515-BF69BBAB73AC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C37EEB4-E812-9D5E-07B2-36FF0C9E7BFA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4CB210B9-65D4-67C7-0038-12B34887A272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A2644571-C6C2-31ED-0327-2860E8F41B4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FB5F7DF-3572-F827-279C-E10F90CCF59E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7455C64A-4AB4-7A4B-F715-B91FEF2A7938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7E974AFD-FB8E-25F3-52A4-EB995440C8F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FCBE3F3E-6D3B-4588-A97C-8719C3B5AA0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62766184-B76E-56D4-F842-44F65F2183A4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C4D0F1FE-C51B-616B-8D26-431606A4B62E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0CA16456-9208-4E10-EAD3-76D0ED33DA4C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Корпуса «Б»: районные исполнительные орга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Корпуса «Б»: аппараты акимов сел, посел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Корпуса «Б»: аппараты акимов и маслиха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менталь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16437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434C51-2296-1198-96AF-DBB3CDD741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72EAF34-4184-741A-DFA3-8F6081C26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ласть Абай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AABD631-F114-6F11-C40B-CD0D0E8CB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CEA64E0-416D-D0D5-E439-42AC8EF3E65F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DF83880-B8BC-E94F-9FDD-3DEC5A5925D9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E16CDE0-3545-A717-6342-DD52C389AE4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1DD9939-F115-4D95-A2E9-05DE4608CCE8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96E7597-DAC5-9245-E3C4-A3C89DE1D1B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D1B3134-C098-860E-69C4-CCF1314FEBDB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90C86C3-6F95-BF5B-6ADD-41F20215807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госслужащи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Корпуса «Б»: районные исполнительные орга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госслужащи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Корпуса «Б»: аппараты акимов сел, поселк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госслужащие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 Корпуса «Б»: аппараты акимов и маслиха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паковщики вручну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Фермеры и рабочие по разведени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2811DFC0-44B9-48C2-48C0-CB6DBBBBD2A3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3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5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9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F1EAF3D-BEFF-B254-E488-3CBFDB698AE1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6465D12-1AF2-9537-9F39-4DB6AD8A81F1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790DA2C8-C027-E027-D6A6-BAD21A35BF24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0613FBDB-124A-387C-7598-CA29B04034E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9FFB0FC4-0AF7-BEB7-837A-8D3F10192EA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80BE87C3-37C0-C987-B3E5-E130F0ADF2C5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D63DE7C7-88F0-F3B9-22BA-ED3BD8E6DC29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5468A49-C78B-E59B-53D6-15B946E49FA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4671805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батывающая промышлен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орговл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троительство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0B7F097A-652D-7EF4-1955-8B1975782A3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CE6A4C35-345F-C358-D727-629A8371F7A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22A6E51-DA22-E26B-2313-108AA525B65C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363CDB6-67B0-FA4D-C28A-E3684C904B8D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2B5E0E5A-E45A-1152-237C-CDDD77E15753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4827341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F115F1B-AB4F-11E5-035B-A4992B0617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30DDFE9-AAC0-B4C4-9BA3-08D38F2ED6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кмоли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2945870-5EA6-657B-2F7B-29A1F8033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35" name="Заголовок 1">
            <a:extLst>
              <a:ext uri="{FF2B5EF4-FFF2-40B4-BE49-F238E27FC236}">
                <a16:creationId xmlns:a16="http://schemas.microsoft.com/office/drawing/2014/main" id="{BFDC4C6E-EE9B-03D8-55F0-B6DBBBABC9F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36" name="Заголовок 1">
            <a:extLst>
              <a:ext uri="{FF2B5EF4-FFF2-40B4-BE49-F238E27FC236}">
                <a16:creationId xmlns:a16="http://schemas.microsoft.com/office/drawing/2014/main" id="{3DB2D55B-48B3-FCEE-6D48-C483A05226B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AD3085AA-D26B-32CC-6C93-9D81D50C898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>
            <a:extLst>
              <a:ext uri="{FF2B5EF4-FFF2-40B4-BE49-F238E27FC236}">
                <a16:creationId xmlns:a16="http://schemas.microsoft.com/office/drawing/2014/main" id="{0C74AC23-8FC8-5103-EBBE-3614BD4F92D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Заголовок 1">
            <a:extLst>
              <a:ext uri="{FF2B5EF4-FFF2-40B4-BE49-F238E27FC236}">
                <a16:creationId xmlns:a16="http://schemas.microsoft.com/office/drawing/2014/main" id="{3DF923D7-4658-84FA-5713-675569634DBA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40" name="Заголовок 1">
            <a:extLst>
              <a:ext uri="{FF2B5EF4-FFF2-40B4-BE49-F238E27FC236}">
                <a16:creationId xmlns:a16="http://schemas.microsoft.com/office/drawing/2014/main" id="{F46DC90C-D204-BE7E-B455-01973DEC5FC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41" name="Заголовок 1">
            <a:extLst>
              <a:ext uri="{FF2B5EF4-FFF2-40B4-BE49-F238E27FC236}">
                <a16:creationId xmlns:a16="http://schemas.microsoft.com/office/drawing/2014/main" id="{CCC7174B-7F5C-980C-FFE5-8A323E44F43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42" name="Диаграмма 41">
            <a:extLst>
              <a:ext uri="{FF2B5EF4-FFF2-40B4-BE49-F238E27FC236}">
                <a16:creationId xmlns:a16="http://schemas.microsoft.com/office/drawing/2014/main" id="{DBC9C900-B24D-F2ED-0070-B6088F931A7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43" name="Диаграмма 42">
            <a:extLst>
              <a:ext uri="{FF2B5EF4-FFF2-40B4-BE49-F238E27FC236}">
                <a16:creationId xmlns:a16="http://schemas.microsoft.com/office/drawing/2014/main" id="{00D6782C-BD56-0F2F-360C-7266A238462A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4" name="Диаграмма 43">
            <a:extLst>
              <a:ext uri="{FF2B5EF4-FFF2-40B4-BE49-F238E27FC236}">
                <a16:creationId xmlns:a16="http://schemas.microsoft.com/office/drawing/2014/main" id="{C53D1304-B4A7-F467-AF4F-E820454038F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5" name="Заголовок 1">
            <a:extLst>
              <a:ext uri="{FF2B5EF4-FFF2-40B4-BE49-F238E27FC236}">
                <a16:creationId xmlns:a16="http://schemas.microsoft.com/office/drawing/2014/main" id="{EC333A85-704A-686F-FEE5-93CA4A20F84F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46" name="Заголовок 1">
            <a:extLst>
              <a:ext uri="{FF2B5EF4-FFF2-40B4-BE49-F238E27FC236}">
                <a16:creationId xmlns:a16="http://schemas.microsoft.com/office/drawing/2014/main" id="{2553E3CB-DE16-086E-E013-A111C8EA2F6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4315245-DEB1-D05F-FCA0-BAE9953AE21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48" name="Заголовок 1">
            <a:extLst>
              <a:ext uri="{FF2B5EF4-FFF2-40B4-BE49-F238E27FC236}">
                <a16:creationId xmlns:a16="http://schemas.microsoft.com/office/drawing/2014/main" id="{E4337C7C-ACAE-B457-6BE0-0CA970E91F3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49" name="Диаграмма 48">
            <a:extLst>
              <a:ext uri="{FF2B5EF4-FFF2-40B4-BE49-F238E27FC236}">
                <a16:creationId xmlns:a16="http://schemas.microsoft.com/office/drawing/2014/main" id="{9213DC1A-E5B8-5795-C487-B681D012476C}"/>
              </a:ext>
            </a:extLst>
          </p:cNvPr>
          <p:cNvGraphicFramePr/>
          <p:nvPr/>
        </p:nvGraphicFramePr>
        <p:xfrm>
          <a:off x="5168900" y="3181383"/>
          <a:ext cx="225425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50" name="Таблица 49">
            <a:extLst>
              <a:ext uri="{FF2B5EF4-FFF2-40B4-BE49-F238E27FC236}">
                <a16:creationId xmlns:a16="http://schemas.microsoft.com/office/drawing/2014/main" id="{569B2002-C865-0E49-1829-337280609B0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51" name="Таблица 50">
            <a:extLst>
              <a:ext uri="{FF2B5EF4-FFF2-40B4-BE49-F238E27FC236}">
                <a16:creationId xmlns:a16="http://schemas.microsoft.com/office/drawing/2014/main" id="{3244EB83-EB0C-BA70-1E94-51FB433F3FB8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диатры и неонат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628961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5B857F-49C6-C352-4A42-7090593817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B1ACE6-45DA-AAFD-CC95-405118E3A1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кмолинская область</a:t>
            </a:r>
            <a:r>
              <a:rPr lang="en-US" dirty="0"/>
              <a:t> </a:t>
            </a:r>
            <a:r>
              <a:rPr lang="ru-RU" dirty="0"/>
              <a:t>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4A87323-9A13-84BC-EC54-FA8F915644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7BBE3AB-9750-157F-3DDA-566A1DD528A2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5E1DB63-BCDC-D2DB-3332-E71DE7B28A1F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82ED610-7E38-1B5A-4E34-D7FF2B5D76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A13B737-62A5-93A2-062B-F40C9B3527CC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727071C-1014-4E7F-BC4C-5C6BA6F75F3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D9ED9E9-F85F-7724-6AC0-284BFB948E33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44298D1-336E-2A23-DDF4-05656851389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наладчики электро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диатры и неонат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1DE1F8F-2978-5673-6F01-235DDC5F056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3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5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7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676F2DE-2F43-3D6D-8142-E66D3ED4E742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7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E47BE90-9EDC-3C75-01B6-623394FF6038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0,3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D54C4CD3-620E-BC54-0710-4FE2C14536C0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66B318D-76AC-8B88-AE7E-220F64664BB2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FEFE9D5C-21BC-BA9B-025D-133936BEAD75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5,8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B2F94DA4-1A78-E0E9-CC93-040E98B2CAE4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E94CC6B0-3785-2A23-1A71-342DE82FEA93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9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3E4288C6-BBAC-F84B-08D0-E2F39597E41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07308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батывающая промышлен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kk-KZ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орговля</a:t>
                      </a:r>
                      <a:endParaRPr lang="ru-RU" sz="8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троительство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CA18C07-0B3D-2FAB-56D4-5DF663DE76F2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FDD65FA-704D-E440-3480-09358EE27251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0EF93FE1-870E-AEB2-82FC-7E2C034B6B5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9B1AD083-4774-3223-6770-F0B49F3304DC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6217E9B-7CD4-4967-2803-9BF94DE9CCB4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6430814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39782F-E2CE-A356-C63C-2176ACE5F5C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3E5B3D1-0301-3F6F-C5C4-9BA3E0AFE9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ктюби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382CC7B-321B-560B-3C00-7388D5E6B5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1CEAC1C-D8EE-F30E-C13B-8096CFA033E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66F942C-350B-E1C0-811F-50A50FC795D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491745A-F886-288F-B078-349C7D9C987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54F16EF-66AB-706E-F664-C462AE34019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5760B23C-19A3-62DD-E0EA-6F1D39A2168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072867D-8707-9303-CF84-357C47F91C3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E7003D0-AC68-C1A4-6F15-ED965D591D6A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3156452F-06EF-8B6B-E829-081030E7E5D7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EFD1454-8455-D827-C88C-F898259779FA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B5F134A7-F7E8-D189-921E-00624409FFBD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859B7B82-3FE5-546B-D29F-38879242C64C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91BE130E-F6CF-C65C-249C-79AAB80B1BC7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03EC4094-1F99-64AB-BFDF-C34CA7EB9181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095F028-5C4A-4B08-93EB-0700359723AD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7B8021BB-F784-30A2-7DA0-5F741A03D8D9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C23D30B-B075-A316-3448-CB9862A736E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111E260D-952D-F054-8F61-013D3512573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22693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55862B3-21DA-1608-9308-A2D5392AEC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2865D7A-FEB6-9F16-ACB9-E1ACD854B6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ктюби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DFECDE5-AB32-611F-EADA-574111F3B8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5FA8FDC-FFDC-D6CD-8AB3-7FBC696F3FB8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84BE30E-F9E7-0BB1-4D8B-FF29DD5726A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BD51F09-C78B-F00A-6542-81205453008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B954C96-809F-82CD-71BB-40E79753C539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7C1D31C-7219-C15F-96D5-43795989DCD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DAD3EEE-A449-F499-55F6-536CA8C1B99D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2A15C97F-2537-C51A-D5E0-F2286C06EF9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учи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жарны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DB7CDD5-7F14-7EF0-238C-FBB762D9D844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6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9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1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5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4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8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3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7CCEFAF-1E5D-24AF-9440-BF7C4421F2BE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ABC46CB-69D6-6B69-7C45-BD81404A7720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24789D2-EAEB-AFC5-FFAD-075A7FCA863D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A602FB1-47AF-4C7A-05E2-33A9B2971BA6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833533BC-3BAB-7BC8-26EE-32F7527D6F07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9C50DC81-0383-3288-E117-5253574A172B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D90FFFC3-F3E3-FF27-551A-0D4768EB1E18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D4A7B777-BE59-CDAD-42C2-F2FE4E79D4A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37946830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E41D9FED-768F-0A1E-A79F-D52DE99D0130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A0A07C8C-D0E0-DC7A-62AE-C70D968AD0EC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17EBE6F-4CF9-5EC7-A91A-A3C7A6232F18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35B90A3C-6755-8B92-CF42-6844933057B0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5EFA4FE-8C54-33F6-CAED-0F0696F1A21F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323941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EE6129-33BF-5FF9-3457-70B94EA6E4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9EA11C1-51A7-5FF2-BBAD-9C65B030EB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мати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BB18F35-A4E6-CDD3-FCFD-4DD5B9A458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78F6C6E-2245-526C-837C-75BAB1D761D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FAD6F8A-4319-9BE9-09A2-11936544C7D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50A40E7-7B6A-6F29-BB44-8E2EEDA9B56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7A16AEA-1301-2B6F-E423-00E9ACC11BCB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E3EC39E-EDF3-61B8-F0E9-F1BEAAE0486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CD46C18-160F-CD3A-3615-FC77D5706BAB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AD3AB36-91E2-2726-2CDF-1E5A75F3EE04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8FB7C39D-721B-5F3E-C96A-0A6A75A027D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78F95DAE-5133-5541-6981-116A285F8ACC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EB61378A-4FCB-D345-BFFA-7D0F89D8F9DD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839C547-AF36-B584-E0E8-0BEEFF2FFC08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8F7A4932-76EF-E210-507E-36A31856D189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D9A0A291-08B8-8D6D-2E36-E341FC0A12C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B5C9D5DA-E297-61A3-3C30-03037EBB03D4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F3E085A3-F735-CB7E-A894-720FD099B51B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AE8E51ED-7B70-9804-7F5F-29485A0B6C5B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71622F10-1D55-9A3C-7B8A-D848F2A89F5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5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животно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промышленных и строительных материал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ы и рабочие по доярств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орабочие выработок открытым способо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01815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27A96-7AF1-AD11-B7F1-BF52E64F98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8A4A1D-98F2-D7BE-863F-468B1CEC17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лмати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88A5043-7BF3-054B-F502-A14360E2BA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3FE0E4E-F844-C5D4-CDF1-637603AF8BD2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ACDC7DFF-538D-7A7C-D7D6-7A2874C90CC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5B35D3C-139E-CB33-66DE-8CF2DF22E0E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AFC8A09-1EFD-F523-A5C2-29E1F956EBF8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D2503ED-D59B-A449-F90A-F39258E4711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EEDE187-4DC9-CB72-3C92-12932C4E8B9F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CB3DC4D-9176-316A-7849-FB69A64E396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промышленных и строительных материал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выработок открытым способо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ярству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транспорта и в связ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аппараты акимов и маслиха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животно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рикмах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A0E401B-BC0B-22C9-FB07-59CA6ADCF75F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 2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 9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0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 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9C912F4-05D8-4842-2E33-08696A1998D6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0E030C6-24EE-6A37-1350-C4256AF5B27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F3074DDF-E139-C2D4-31F4-9E37451A8BF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F0A1F64-1666-238C-5710-3C22399D9039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16CE961-303D-DD59-4923-B1A21BD354A9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BAD8757-B7AF-458E-8ABC-5D6D86093469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5B09EC9E-587F-80D6-19EB-7ED9A71091C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6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3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3ACB93E4-1865-5C10-E335-9D81986A79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8205767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 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9CCCA30C-AFBA-75B5-8D0C-98228025033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93FEACD-079A-D4ED-92D8-CD92B4B95CDB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64E917F-BF5E-A4F3-D7B6-F7DEE1833DA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03F99B9B-7B1C-3252-AA4E-BF8876F0B92F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AC13D245-51E6-3AC7-4F13-271175F75382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8639027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065CAE-157C-1225-EFF9-1711EE5417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52BDD66-8B1F-6B90-1EB9-5BBF2ED085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тырау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333ABC5-99F8-4417-9685-3F6225A3A3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2ED444E-070F-1913-B8B7-FB7015987EE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1B7DFA6-DAB5-95A7-B472-7EE18E84B2D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28CD233-1FCF-690E-F202-C701019EA5A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AE0A686-B623-1EFF-E70D-FF740D7360CB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CA091DF-7077-1A6D-B74D-DB937E523D3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08EE939-7354-DDBC-9CA9-6DB84114118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5DA4FA5-C690-EEB7-2CDA-23379712E56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9B954005-34DC-9CCC-59D3-0F3203363320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0EA5E0F5-0893-720F-6F7B-2E66BF7FA088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9166B72-7088-ED9B-3B2F-BDB966A6B7E8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8BC510D3-6713-56FE-3890-245CE9CA568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0DA55A7F-E9BF-4AD9-6B28-467088C82387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5CD391F4-AF1A-3120-5EDE-70E3A7ABAB6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429BE3F7-08F4-3BAB-70D9-A8A626DE87B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4007CF6A-6E07-141F-1AB0-9DE2C701BCD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C2F8125-23AE-0534-1C21-1CA70FEC78FB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D9E12B36-3CF1-3197-EC06-8B797FFA334D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0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монтаж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яры и декораторы фасадов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вар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олир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ы над строителя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2071246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71CF37-7912-877E-A45D-34F08EFE8EC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F5FD80-C91E-5FAB-C0F7-FA37F61A50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тырау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0B9384F-998B-5F86-34A2-2DBBD4C29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1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4D0F33C-65C8-4472-BA0A-553C44F2342C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36A8A79-DE52-687E-DD58-C0CCF80A651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4809DE0-1626-8EF2-99BB-3D97641DCCB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4EE1B9E-2D25-4FC6-19C4-395539E4B7D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5B8BDE5-D706-BC8A-970E-8996C9D5B24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4F12034-4C46-DCD4-67AA-BC2A9CBEB90B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6641D8DA-FA11-D623-453C-8F9BB550148A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монтажники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декораторы фасадов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олиров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очистке фасадов,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FA6DF39-8542-1E33-6B32-2CA4FDAEF37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8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3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 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2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0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3AC9345-DC88-1C9C-2D5F-F471357258D1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6964F90-58C2-B42D-19CB-C03231AF301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2172F254-2A88-E1B4-5627-2C421C98AEE9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2F420141-785F-2547-A935-6C784A685224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899E5AA-7C01-6B2C-FBF6-791875ACA19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2B0B126-0307-9FA2-2154-8737AF400353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B43305B1-3910-F229-631D-926C7096AFBF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8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2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D393509-188C-98A8-40AC-3F1347C103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33319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 9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9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0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FEB2BA0-4079-5C02-3E92-26D6250F01C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9CF7D01E-969C-7BDC-15B0-BD57355948FB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5AD655E5-E34C-5EE3-4401-9C403F0A931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43F0DC83-0C6D-997D-F330-6E6CD4C3C19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2A5825B-47AD-CD23-4FBB-0B6847B02C6E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178788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FB1A626-047E-A125-4463-C42523100F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6A992A-441F-2FCE-4FEF-AB831EB5B9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одержание</a:t>
            </a:r>
            <a:endParaRPr lang="ru-KZ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BC7FF7B3-CAE6-1AE3-BD30-129A6118FE32}"/>
              </a:ext>
            </a:extLst>
          </p:cNvPr>
          <p:cNvGraphicFramePr>
            <a:graphicFrameLocks noGrp="1"/>
          </p:cNvGraphicFramePr>
          <p:nvPr/>
        </p:nvGraphicFramePr>
        <p:xfrm>
          <a:off x="161211" y="661661"/>
          <a:ext cx="11744277" cy="145700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10110778">
                  <a:extLst>
                    <a:ext uri="{9D8B030D-6E8A-4147-A177-3AD203B41FA5}">
                      <a16:colId xmlns:a16="http://schemas.microsoft.com/office/drawing/2014/main" val="2661863727"/>
                    </a:ext>
                  </a:extLst>
                </a:gridCol>
                <a:gridCol w="1633499">
                  <a:extLst>
                    <a:ext uri="{9D8B030D-6E8A-4147-A177-3AD203B41FA5}">
                      <a16:colId xmlns:a16="http://schemas.microsoft.com/office/drawing/2014/main" val="969258094"/>
                    </a:ext>
                  </a:extLst>
                </a:gridCol>
              </a:tblGrid>
              <a:tr h="70165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ИМЕНОВАНИЕ РАЗДЕЛА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i="0" u="none" strike="noStrike" cap="none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СТРАНИЦЫ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341470"/>
                  </a:ext>
                </a:extLst>
              </a:tr>
              <a:tr h="70165">
                <a:tc>
                  <a:txBody>
                    <a:bodyPr/>
                    <a:lstStyle/>
                    <a:p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Рынок труда в 2023-2024 годах (</a:t>
                      </a:r>
                      <a:r>
                        <a:rPr lang="ru-RU" sz="12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весь рынок, квалифицированные профессии, рабочие профессии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)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-5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 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01645"/>
                  </a:ext>
                </a:extLst>
              </a:tr>
              <a:tr h="701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Рынок труда в 2025 году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 </a:t>
                      </a:r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 </a:t>
                      </a:r>
                      <a:r>
                        <a:rPr lang="en-US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...</a:t>
                      </a:r>
                      <a:endParaRPr lang="ru-RU" sz="1600" b="0" i="0" u="none" strike="noStrike" cap="none" dirty="0">
                        <a:solidFill>
                          <a:srgbClr val="0A112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317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Востребованные рабочие профессии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… 7 …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2062"/>
                  </a:ext>
                </a:extLst>
              </a:tr>
              <a:tr h="337645">
                <a:tc>
                  <a:txBody>
                    <a:bodyPr/>
                    <a:lstStyle/>
                    <a:p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Востребованные квалифицированные профессии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… 8 …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838989"/>
                  </a:ext>
                </a:extLst>
              </a:tr>
            </a:tbl>
          </a:graphicData>
        </a:graphic>
      </p:graphicFrame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ABF824E-B512-C69A-813B-6D6DB201E30E}"/>
              </a:ext>
            </a:extLst>
          </p:cNvPr>
          <p:cNvGraphicFramePr>
            <a:graphicFrameLocks noGrp="1"/>
          </p:cNvGraphicFramePr>
          <p:nvPr/>
        </p:nvGraphicFramePr>
        <p:xfrm>
          <a:off x="161211" y="2408165"/>
          <a:ext cx="5389197" cy="398233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639619">
                  <a:extLst>
                    <a:ext uri="{9D8B030D-6E8A-4147-A177-3AD203B41FA5}">
                      <a16:colId xmlns:a16="http://schemas.microsoft.com/office/drawing/2014/main" val="2661863727"/>
                    </a:ext>
                  </a:extLst>
                </a:gridCol>
                <a:gridCol w="749578">
                  <a:extLst>
                    <a:ext uri="{9D8B030D-6E8A-4147-A177-3AD203B41FA5}">
                      <a16:colId xmlns:a16="http://schemas.microsoft.com/office/drawing/2014/main" val="969258094"/>
                    </a:ext>
                  </a:extLst>
                </a:gridCol>
              </a:tblGrid>
              <a:tr h="134813"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иложение 1 Регионы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341470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ба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0-1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01645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кмоли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2-1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235927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ктюби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4-1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39165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лмати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6-1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8165394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тырау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18-1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745949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.-Казахста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0-2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198987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амбыл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2-2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540420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Жетыс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4-2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821171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раганди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6-2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66968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станай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28-2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856630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ызылорди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0-3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06024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нгистау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2-3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336711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влодар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4-3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0449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.-Казахста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6-3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9031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уркеста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38-3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94403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лыта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0-41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944564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.-Казахстанска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2-43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420324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. Астан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4-45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31712"/>
                  </a:ext>
                </a:extLst>
              </a:tr>
              <a:tr h="13481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. Алмат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6-47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2062"/>
                  </a:ext>
                </a:extLst>
              </a:tr>
              <a:tr h="21433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. Шымкен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48-49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8838989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A5A4D6EB-6C52-6159-0A6B-5FE10B09B5F9}"/>
              </a:ext>
            </a:extLst>
          </p:cNvPr>
          <p:cNvGraphicFramePr>
            <a:graphicFrameLocks noGrp="1"/>
          </p:cNvGraphicFramePr>
          <p:nvPr/>
        </p:nvGraphicFramePr>
        <p:xfrm>
          <a:off x="6342936" y="2408164"/>
          <a:ext cx="5562552" cy="398234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4788863">
                  <a:extLst>
                    <a:ext uri="{9D8B030D-6E8A-4147-A177-3AD203B41FA5}">
                      <a16:colId xmlns:a16="http://schemas.microsoft.com/office/drawing/2014/main" val="2661863727"/>
                    </a:ext>
                  </a:extLst>
                </a:gridCol>
                <a:gridCol w="773689">
                  <a:extLst>
                    <a:ext uri="{9D8B030D-6E8A-4147-A177-3AD203B41FA5}">
                      <a16:colId xmlns:a16="http://schemas.microsoft.com/office/drawing/2014/main" val="969258094"/>
                    </a:ext>
                  </a:extLst>
                </a:gridCol>
              </a:tblGrid>
              <a:tr h="199117"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Приложение 2 Отрасли</a:t>
                      </a:r>
                    </a:p>
                  </a:txBody>
                  <a:tcPr marT="18000" marB="18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000" b="1" i="0" u="none" strike="noStrike" cap="none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Arial"/>
                      </a:endParaRP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A112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7341470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1-5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3001645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3-5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235927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брабатывающая промышленность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5-5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939165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7-5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88165394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59-60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0745949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Строительство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1-6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198987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орговля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3-6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540420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5-6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821171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7-6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166968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69-70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0856630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1-7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106024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3-7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3336711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5-7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0449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7-7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699031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79-80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5494403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1-82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4944564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3-84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420324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5-86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31712"/>
                  </a:ext>
                </a:extLst>
              </a:tr>
              <a:tr h="1991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i="0" u="none" strike="noStrike" cap="none" dirty="0">
                          <a:solidFill>
                            <a:srgbClr val="0A1121"/>
                          </a:solidFill>
                          <a:latin typeface="+mn-lt"/>
                          <a:ea typeface="+mn-ea"/>
                          <a:cs typeface="+mn-cs"/>
                          <a:sym typeface="Arial"/>
                        </a:rPr>
                        <a:t>87-88</a:t>
                      </a:r>
                    </a:p>
                  </a:txBody>
                  <a:tcPr marT="18000" marB="1800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2">
                        <a:lumMod val="20000"/>
                        <a:lumOff val="80000"/>
                        <a:alpha val="62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36520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0842453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654B60-D0D9-63E8-B727-C7C26F247BE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47D814-2F37-62D0-F50B-BF465F72BF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.-Казахста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BEDE3E0-3D21-69F5-C27C-D9B77E719D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CD48F36-06A1-8B98-0B0B-7E94A6ABD656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52A5391-2016-D7A0-BA71-BED880A9465F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08A452BB-BA7B-997D-0BAA-F79D7F97694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AB2F7B9-BC83-FFA8-795F-30022C17FFDB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8AFEDF3E-2690-915E-CDE0-E6BF511C4728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29C2333-75AF-018E-4B00-4D8F97CC6AC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3321302-B590-29AE-6A65-95B582E2426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CB7ABF88-E6A2-E19C-61D5-F60CFC0F8A9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F8A4609-1B20-F12D-9DE6-D00826623063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27AE29B-5D12-FE5C-CDF3-3B1FEBEEC93A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AECE725-DA75-3218-BC38-CA86039049AA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DA8CE2D-6EF3-1C8B-6891-F6535BA556D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857A29F0-F032-21A2-B493-0CA5ED927B84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331416BB-F38C-179F-102A-7615FFB369A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7F1EAEC2-09B2-1BBB-E767-83C292305A8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923E5860-111C-6D19-5B00-DAF3CB991E1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4E8CE9A9-FA65-754C-1DA2-170DB1994E8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ушеры и гинек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9614104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69E37C-8402-FEDF-23FB-365C5A499C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7D605E-DB8B-16CE-2B28-54DEBD8D76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.-Казахста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FA30EF6-331D-768D-2144-8785BAA208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309F301-1415-0C07-594A-9EDFCD042C90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9B17237-B701-53D1-B9BA-39C1EE92761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E28AB62-9F20-8E57-78D9-D4A3DFFBA7C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087B1CD-59E8-342D-13C4-1A00A7F4AB5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EBDD901-8A61-0077-03F8-11CF43CC33C9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F8E298F-EAEB-5376-42FE-C25AAFBF275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5198AD7-DCF1-3F33-5723-6A44A5B7E8D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ушеры и гинек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учи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3291410-9B5F-E3C7-0961-AC01D0B1C3E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9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 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711106B-38FE-304B-87E5-09ACC80310E4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22C45ECC-081E-25BD-32AF-DB6ADECB192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5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5F925F5A-3700-B113-D8AA-F7ABE553F489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2385B444-8140-9D01-5E8E-B73E56FD1EF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2DEED1B-8459-A10C-50B7-3F95D353C19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5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CA3DCBC4-819E-C168-BA05-632CCDD4834B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E877976-B6EC-E192-1FF3-E9C758AEE7F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5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3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DAF516F7-21A4-1D6D-3923-D3EA809083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573126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 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0972902-C805-FA1D-3C31-716761AE434A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40197CD-55B6-6165-2739-253E538F2987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09A9CF2-1F39-E54C-3EEE-A424765C19C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4280672C-5F16-09F5-0FCF-3D529F6CA80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833D665-76B9-6CCD-DD86-7C18448509BB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415743019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249218-BF62-A889-93B5-471A16FCD4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6B9E83-2D84-2111-F9F2-B73513AE38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Жамбыл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4BB2693-5733-29BE-7B9C-DB762ABF9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74D6198-0986-E61D-71DB-30A69BE94041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D541CB0-8E41-8419-0C6A-25A7C2EB137F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03FBB59F-5940-0B57-9B86-FB928625D0B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56A555B-D38F-F1C1-2460-BC5DAB724C2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DBCF0B42-B38A-4CAE-3D76-079AC0314AF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DF2EF4F-A868-5D26-741B-9FF5A571356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F575D7C-5486-EB60-EC27-FAAB6CB6B91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1A3AB5C8-C0E3-A49F-6033-377E92FBA16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21A2F36E-CE9D-5F80-2076-2B2C093EAD40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AB0799EF-0B48-A0B6-9C87-67F2A25F1EF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6DEECF2-181C-3694-0996-99DA6A65BAC9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755DF18E-1CF4-6068-2102-5516CDC975BF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D6139540-760C-F422-4AC8-D07A72A8B897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8BBE8BB9-F784-46CE-1D83-6D8646C2D3F4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D64E4B75-12D4-E36B-6FE8-C18688618340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79D50460-02D4-FE4C-CF05-59A34F498BF2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E74B11A2-EB6D-65CA-677E-37EC9615530E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82707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ельскохозяйственных подраздел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возчики и водители машин на тягловой сил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животноводств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08799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3D5004-3376-EEEC-46CD-E38E055A21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78C39B-BE55-77D7-EDEF-33BFF8B113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Жамбыл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D6A0326-5F76-BD80-F961-FF9219C1D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6E3727A-11D7-16CC-B897-7C80D106BE4A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61BA3EE-4401-FA03-D9D9-D2793279E7F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5153EF45-9B54-DEF4-C01E-706876A4744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4D1A6E9-9B65-F036-8FE4-F70E778BF5A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D308B77-1E0B-9CC5-E35C-AB36584C1BA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73332D6-BFC2-0FA1-CA27-EBB3E384178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F4162DD-0AB1-AF57-7A94-1A3C4FF4D1D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сельскохозяйственных подраздел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звозчики и водители машин на тягловой сил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жарны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F3BA6E0-03A6-2D0A-F354-A1FA99AFB25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 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0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8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 9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50E3D6C-51A3-1E78-00FC-590210A1D776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760062A-B414-544F-A91A-58A6D724043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DAD7C6DA-14E0-A740-4398-2EF7F482AD1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EA9E4CC-2658-E296-6EDD-DF6E0C9FF21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68148F81-5DDD-EB4E-89F9-5AC3AEDB01C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6C2A487-99C4-360C-6C1F-8E0B549DE65F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B469BBD-B85B-22FC-3619-FEB3962E544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 9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 9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2FEB728E-8612-F73E-C04D-0CD16B77AF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1654844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 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7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8A4F7D9-1DD2-6CAE-6E35-2FD5F2BB286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5B6186F5-48C7-ECE6-5E47-3925757BD75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10BBF93-EAA1-FB95-A499-F4B580568EF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BB16B9CA-D913-BD47-B859-2F57C938B00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400FDA1-E914-3332-45CD-16591CA1FF9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68357697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97A5ACC-3ABB-B7D6-224E-942C1FB612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2B72B5-B198-D29B-5427-91B38643A6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ласть Жетысу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4BE59BA-53E0-B49C-36EF-CCC4E09B1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33BCFF5-0E54-120A-9D6E-CFB2D123D1E3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D9088AA-5F53-17EA-D374-216C7BCEDA4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E2D2016-9731-E836-C053-23C9E7944B83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CFB2AE8-7D59-62AE-FB56-6D64A272036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23FCE26-9519-D463-A41B-53E2560275F5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28BADBB-FEDD-B8A3-0BB9-899840712A2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312EAD-F7FC-FD9C-C36D-EE77CA831C8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4D59058-DF1A-F8F9-660C-3694CF49CFF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612BC9A4-6A8F-10F0-EFFD-A3ECF25E225D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43FD1885-6B27-6DC0-7A1B-CF139FBE4E3D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ED204B82-33CE-6BF4-DF92-062500BA7CEE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439F4A3F-D4FE-9C13-EEE3-8FE90D26011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077603C5-423E-C101-6A5F-06171F5E3E4F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1D28064A-0F03-B6C9-6409-9EEA8B3ECA7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30E4140F-2803-79A3-FFBB-8DBAFAADF811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FB658A7F-6AEA-5627-541D-D07F6C9C61E3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FDC65289-124B-BE1B-F96C-F78F22FF8CB5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микро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рикмах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370488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B76D06-B2B4-1687-609F-0D0509BC57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4E30DE4-86D3-2CFF-AC8C-F415F49921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ласть </a:t>
            </a:r>
            <a:r>
              <a:rPr lang="ru-RU" dirty="0" err="1"/>
              <a:t>Жетысу</a:t>
            </a:r>
            <a:r>
              <a:rPr lang="ru-RU" dirty="0"/>
              <a:t>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1A81DF1-0A05-610B-7E94-5B6B04B6F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F074AEE-1536-3533-6C19-9A8C221A30C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A364444A-B9AD-C394-8DD3-B7A4D369AC2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16E76AA-E933-294B-18B0-E869C9A892B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AE161E2-C558-4933-16D0-7567BFE4DF15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DA5A22B-0E88-4001-7C8D-9742035BAC1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E56860B-B5C2-23EB-37FC-69EFEE7391E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2CCB440-208D-8E7F-CFE4-2B22BDE6E26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, оказывающие государствен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туризму и родственным занятия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ушеры и гинек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рикмах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CA2F3040-F227-00A3-2D9C-CC49857DCC65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6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36D1D39-4C58-4B90-C43C-76C727D8649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6FEF6E65-C8E7-3262-DA02-E8387E871460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04036F6-E9BA-A2B8-DB3B-BBDE03095FCE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D46DB8F6-5FD8-4061-396D-73D545F5F57C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145D593-87DC-535D-ACBA-CA3A0B53B8A1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6DEDE386-F329-222D-51B7-03EDF7763A8C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58402C8A-B4F2-5990-CE85-8EDB23BF69C0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D6887F0-190C-7675-AB8E-EBD32DE1B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8862355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886E29A-EEBB-FD33-4592-5082EFB56ABC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C7B62F26-C52F-9756-FD2F-13113E5A0485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04F3A5E-D4AD-A215-ED24-78F151F1C90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0EDD8D81-85A4-79F9-EFC3-64CEC9710D7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27BFBB9-B392-B057-D55A-A4D5F24671A0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41394813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CF6319-438D-1627-1CC5-B91CD10E1FF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EE4DAAD-9A12-4C4E-6F14-E1CDF98D62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раганди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78E678A-3AAF-CF1F-4B74-CBCCD0389D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532A11A-5BB1-DD21-62C7-659348C76BE2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C167ED6-71E8-F4B2-0918-4466E12F0328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78E953B-032B-563F-A948-B365A15397B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098A39-B7AF-19CA-227B-47065823229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37246544-66C0-0D25-4BF4-A436E30ADD8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CF1F3AF-2E52-1914-E3F2-BEC14D2C8B3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1599EFE-714B-3F81-F070-3C870BC4C587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493D6AD-87B3-A520-8961-5CB10D9DEA66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5AB7F94C-A9E0-F573-521B-96AD52D2F8EF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7CAC4D5E-0E98-50E8-E8A0-E1D3F148F112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3347B210-9DA6-0590-3A72-40A861FA9CB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26A32110-F0D6-F284-DF30-75D29C28C74C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E8CD41AB-DDC6-9F0B-A7EB-AE71209998B6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91293D51-6084-C7F2-34EC-F84FEB4700F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41470749-BB82-8820-6280-2FC2DFA036F7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2BB7ED9-ED5F-FF38-DB0C-38E7F166AF7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FE22AC8B-FCEB-8BAB-2C95-9F6A93E9AE9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музы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454400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58FA4F-2287-9260-2D61-3EE9F3BD05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7F2448-34D0-43D9-BB21-523A74300A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араганди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CD5A894-335F-BE44-1610-288B82BE21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FAA9C1D-CFC3-4FB2-03B8-5FACDF8855A4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171CF82-5257-A699-3D8F-C1D6A5123F9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49D2D30-3C27-A7F5-00F7-B5AC32B1BB51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23AB42A-39BA-D8E2-716C-50A66703A41D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8B7AF5B-9062-C4D2-BCC5-CCCFECC7F9A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F8CBDE68-F3BA-2B80-0C3B-80824623C71A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3C21547-CF62-8989-0D3F-F631BA22A00D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вр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склад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CC38342-A83E-5A07-AE6F-D899E8A0DE8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8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8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 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6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 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43A3C68D-3122-7EE3-347D-C4073EF83365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0239FE74-4AB1-22EA-8C29-C76D42396C8E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AB651E63-7406-851D-5013-97F37ACDAF6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70B2356E-3BD0-5FB5-D596-45C34981E68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5D90C06-5978-4362-C4E6-19D321D0AD5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B6A0581-7467-C58B-3FE6-D0DE9B867E6B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551B6798-2C22-5D00-B229-92A371134D9E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1464B7DE-3C9A-45EC-0344-8586872535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0717017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69D2194F-C67F-1225-EDB3-C663C73D601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179163F-1671-72E6-8C88-BE91DD8CA27C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774E3A41-F485-3709-4077-3DF053473C63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555D291-917D-87C8-A40A-A8C6A218A492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62A2062-A486-DF45-41FC-1481C9E51FD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69370570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2EE10C-8784-490A-CACF-B01DD8A0C1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A18C6A-EAFC-2DC8-7919-99A8A840E7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станай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B642B7C-33B0-D83A-B600-459BCF75CC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0302975-7F0B-E95A-E1C8-7CE18757443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2CE3508-3121-1A34-259B-283C0F4FADE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EB4C32BB-BC74-52FB-DDCB-6EC0D478875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E618C98-93B1-77AB-9D2D-8506DF720AC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A5D8D16C-CE14-71EC-5598-5044A635E509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63E63F1-F040-9AA3-38B6-C0DBB088DA3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A612566-2C44-91E7-ADC8-E17813C49F0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E8F3AC6A-7D64-EF7B-4375-0D9879E4F784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20C75F8E-7D84-83DE-2E38-D44C4340407C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B6E3BA6-1A85-2FFB-A7F3-7336A395EFA7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8B06360B-186B-3177-E7B0-EBF7A9974020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67061EC-8C0B-E9C9-84B7-6A9D397E818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6C02250E-E0C1-89DB-3B02-433912AAE812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3D701F9D-7953-7344-6F17-0B6E88A2A3A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5946BF28-FFAB-9071-D124-8BB88D891A78}"/>
              </a:ext>
            </a:extLst>
          </p:cNvPr>
          <p:cNvGraphicFramePr/>
          <p:nvPr/>
        </p:nvGraphicFramePr>
        <p:xfrm>
          <a:off x="5330217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DAFAE59E-05B0-EFA7-EE7C-972F1AE99FE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C1B4F346-48E9-3CD3-0131-D5F34DA9F60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703729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28EDEB4-6686-BD1A-87C9-AB9382AF8B9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C0DF66C-D015-EBCB-9BF0-965C85D4F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останай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A77882B-1A5F-9310-A6FC-008603D0D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2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907203D-CE96-C0A2-1879-457A3F99496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67AE00F-5512-745E-AA2C-C0AFC9F8E02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F4A225B-5E3F-0746-0555-C4BEDEFA98C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F1C2462-F20D-CA4C-EC7A-B188EA393AE6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7BC5C2A3-E877-15D1-6164-97E6C608C7E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D472825-E6F3-CC40-C7B9-939D553735A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411039B-0692-014C-8946-09CBC80F3B0B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животно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ясных и рыбных продуктов пит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монтажники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83157538-2504-059C-2355-E8F59F76100A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 0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8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 0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 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3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 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FE0C41A-C85A-3FA6-E029-4AA9CEA051E9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279D2E88-D935-94E7-9AE9-C68C6DAEE61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1FCE8FD-3CC4-3803-CC5D-72351FBD012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D20687E-8A0C-46C9-F81D-16A6B73BAA2B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94CC7573-D7F2-36F9-DCDE-95D767D040F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ECD0FAF-C88C-011C-F24A-2D8D556289D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FEC7EE13-8F2B-5A36-50F6-84B5201009E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2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9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FE04D3A-4403-B2FB-7CBC-F9999AA22EA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9486201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A4ACF56-E703-BFE5-3190-9EE882C750E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7C68996-F919-3102-1478-747044C86B25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A5F451A6-DE52-255C-C0EE-BFA969A55E1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00BF347-7967-2F5F-7D9A-70E4A9DF8B8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50CCC2B-5A99-FC1C-3A58-54D2E09B7C1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6481891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B210664-1839-10C0-BEF8-08CD07054E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ынок труда в 2023-2024 годах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DA8DA06-748C-7EDB-6D75-9CA1C1F854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3FEC1BE0-048C-0910-0DD8-1204F2128A95}"/>
              </a:ext>
            </a:extLst>
          </p:cNvPr>
          <p:cNvSpPr/>
          <p:nvPr/>
        </p:nvSpPr>
        <p:spPr>
          <a:xfrm>
            <a:off x="612842" y="826851"/>
            <a:ext cx="2519464" cy="2520000"/>
          </a:xfrm>
          <a:prstGeom prst="ellipse">
            <a:avLst/>
          </a:prstGeom>
          <a:solidFill>
            <a:srgbClr val="93CDDD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8F8A2E9A-FE4C-FA67-4B48-1ABD96B3C54F}"/>
              </a:ext>
            </a:extLst>
          </p:cNvPr>
          <p:cNvSpPr/>
          <p:nvPr/>
        </p:nvSpPr>
        <p:spPr>
          <a:xfrm>
            <a:off x="972688" y="1536970"/>
            <a:ext cx="1799772" cy="1800154"/>
          </a:xfrm>
          <a:prstGeom prst="ellipse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6BF96E6-E745-A37E-B5C4-D185DB3295C6}"/>
              </a:ext>
            </a:extLst>
          </p:cNvPr>
          <p:cNvSpPr/>
          <p:nvPr/>
        </p:nvSpPr>
        <p:spPr>
          <a:xfrm>
            <a:off x="1303091" y="2232766"/>
            <a:ext cx="1099528" cy="1099762"/>
          </a:xfrm>
          <a:prstGeom prst="ellipse">
            <a:avLst/>
          </a:prstGeom>
          <a:solidFill>
            <a:srgbClr val="2868A3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F9E627F-E3C6-1ADF-6DA5-9336D37CE365}"/>
              </a:ext>
            </a:extLst>
          </p:cNvPr>
          <p:cNvSpPr txBox="1">
            <a:spLocks/>
          </p:cNvSpPr>
          <p:nvPr/>
        </p:nvSpPr>
        <p:spPr>
          <a:xfrm>
            <a:off x="946944" y="1072775"/>
            <a:ext cx="181182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en-US" kern="0" dirty="0"/>
              <a:t>2,1 </a:t>
            </a:r>
            <a:r>
              <a:rPr lang="ru-RU" kern="0" dirty="0"/>
              <a:t>млн</a:t>
            </a:r>
            <a:endParaRPr lang="ru-KZ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3120CE43-B631-E6A7-43E4-D3B0EBC79AFE}"/>
              </a:ext>
            </a:extLst>
          </p:cNvPr>
          <p:cNvSpPr txBox="1">
            <a:spLocks/>
          </p:cNvSpPr>
          <p:nvPr/>
        </p:nvSpPr>
        <p:spPr>
          <a:xfrm>
            <a:off x="946944" y="1710950"/>
            <a:ext cx="181182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2000" kern="0" dirty="0">
                <a:solidFill>
                  <a:schemeClr val="bg1"/>
                </a:solidFill>
              </a:rPr>
              <a:t>1,5 млн</a:t>
            </a:r>
            <a:endParaRPr lang="ru-KZ" sz="2000" kern="0" dirty="0">
              <a:solidFill>
                <a:schemeClr val="bg1"/>
              </a:solidFill>
            </a:endParaRP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C20EE30C-7EE4-D3DE-01B5-745535317A3A}"/>
              </a:ext>
            </a:extLst>
          </p:cNvPr>
          <p:cNvSpPr txBox="1">
            <a:spLocks/>
          </p:cNvSpPr>
          <p:nvPr/>
        </p:nvSpPr>
        <p:spPr>
          <a:xfrm>
            <a:off x="946944" y="2606300"/>
            <a:ext cx="181182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en-US" sz="1400" kern="0" dirty="0">
                <a:solidFill>
                  <a:schemeClr val="bg1"/>
                </a:solidFill>
              </a:rPr>
              <a:t>543 </a:t>
            </a:r>
            <a:r>
              <a:rPr lang="ru-RU" sz="1400" kern="0" dirty="0">
                <a:solidFill>
                  <a:schemeClr val="bg1"/>
                </a:solidFill>
              </a:rPr>
              <a:t>тыс.</a:t>
            </a:r>
            <a:endParaRPr lang="ru-KZ" sz="1400" kern="0" dirty="0">
              <a:solidFill>
                <a:schemeClr val="bg1"/>
              </a:solidFill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DB6C02EB-541A-E93A-2E5A-9D5C5D4CE32A}"/>
              </a:ext>
            </a:extLst>
          </p:cNvPr>
          <p:cNvSpPr txBox="1">
            <a:spLocks/>
          </p:cNvSpPr>
          <p:nvPr/>
        </p:nvSpPr>
        <p:spPr>
          <a:xfrm>
            <a:off x="3175000" y="1217613"/>
            <a:ext cx="2519464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600" b="0" kern="0" dirty="0">
                <a:latin typeface="Arial Narrow" panose="020B0606020202030204" pitchFamily="34" charset="0"/>
              </a:rPr>
              <a:t>всего вакансий</a:t>
            </a:r>
            <a:endParaRPr lang="ru-KZ" sz="1600" b="0" kern="0" dirty="0">
              <a:latin typeface="Arial Narrow" panose="020B0606020202030204" pitchFamily="34" charset="0"/>
            </a:endParaRP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9D0E681-C7BB-6C88-11FE-4D0E71CAF467}"/>
              </a:ext>
            </a:extLst>
          </p:cNvPr>
          <p:cNvSpPr txBox="1">
            <a:spLocks/>
          </p:cNvSpPr>
          <p:nvPr/>
        </p:nvSpPr>
        <p:spPr>
          <a:xfrm>
            <a:off x="3175000" y="1851026"/>
            <a:ext cx="292100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>
              <a:lnSpc>
                <a:spcPct val="85000"/>
              </a:lnSpc>
            </a:pPr>
            <a:r>
              <a:rPr lang="ru-RU" sz="1600" b="0" kern="0" dirty="0">
                <a:latin typeface="Arial Narrow" panose="020B0606020202030204" pitchFamily="34" charset="0"/>
              </a:rPr>
              <a:t>вакансий для квалифицированных работников</a:t>
            </a:r>
            <a:endParaRPr lang="ru-KZ" sz="16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65834F22-3DF2-B138-8DBF-E083F313B980}"/>
              </a:ext>
            </a:extLst>
          </p:cNvPr>
          <p:cNvSpPr txBox="1">
            <a:spLocks/>
          </p:cNvSpPr>
          <p:nvPr/>
        </p:nvSpPr>
        <p:spPr>
          <a:xfrm>
            <a:off x="3175000" y="2541005"/>
            <a:ext cx="2921000" cy="607008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>
              <a:lnSpc>
                <a:spcPct val="85000"/>
              </a:lnSpc>
            </a:pPr>
            <a:r>
              <a:rPr lang="ru-RU" sz="1600" b="0" kern="0" dirty="0">
                <a:latin typeface="Arial Narrow" panose="020B0606020202030204" pitchFamily="34" charset="0"/>
              </a:rPr>
              <a:t>вакансий для работников рабочих профессий</a:t>
            </a:r>
            <a:endParaRPr lang="ru-KZ" sz="1600" b="0" kern="0" dirty="0">
              <a:latin typeface="Arial Narrow" panose="020B0606020202030204" pitchFamily="34" charset="0"/>
            </a:endParaRP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7A7D2FA6-A458-7E32-AAB8-D6C69B2BED51}"/>
              </a:ext>
            </a:extLst>
          </p:cNvPr>
          <p:cNvCxnSpPr>
            <a:cxnSpLocks/>
          </p:cNvCxnSpPr>
          <p:nvPr/>
        </p:nvCxnSpPr>
        <p:spPr>
          <a:xfrm flipH="1">
            <a:off x="2538413" y="1355785"/>
            <a:ext cx="652462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3CF2E162-6295-92FD-A8BC-1795D1867344}"/>
              </a:ext>
            </a:extLst>
          </p:cNvPr>
          <p:cNvCxnSpPr>
            <a:cxnSpLocks/>
          </p:cNvCxnSpPr>
          <p:nvPr/>
        </p:nvCxnSpPr>
        <p:spPr>
          <a:xfrm flipH="1">
            <a:off x="2357438" y="1941572"/>
            <a:ext cx="833437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84CD96C7-59D5-F5A2-A312-BAF7D5AAC7DB}"/>
              </a:ext>
            </a:extLst>
          </p:cNvPr>
          <p:cNvCxnSpPr>
            <a:cxnSpLocks/>
          </p:cNvCxnSpPr>
          <p:nvPr/>
        </p:nvCxnSpPr>
        <p:spPr>
          <a:xfrm flipH="1">
            <a:off x="2252663" y="2803584"/>
            <a:ext cx="938212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Диаграмма 23">
            <a:extLst>
              <a:ext uri="{FF2B5EF4-FFF2-40B4-BE49-F238E27FC236}">
                <a16:creationId xmlns:a16="http://schemas.microsoft.com/office/drawing/2014/main" id="{1122B60F-FB0C-C6B1-923D-7C5577E1F2B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4623904"/>
              </p:ext>
            </p:extLst>
          </p:nvPr>
        </p:nvGraphicFramePr>
        <p:xfrm>
          <a:off x="6242246" y="504825"/>
          <a:ext cx="5975498" cy="28277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5" name="Диаграмма 24">
            <a:extLst>
              <a:ext uri="{FF2B5EF4-FFF2-40B4-BE49-F238E27FC236}">
                <a16:creationId xmlns:a16="http://schemas.microsoft.com/office/drawing/2014/main" id="{4FE67DA8-3CE9-F82D-95B5-3EAE72BEF6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2376526"/>
              </p:ext>
            </p:extLst>
          </p:nvPr>
        </p:nvGraphicFramePr>
        <p:xfrm>
          <a:off x="184346" y="3872797"/>
          <a:ext cx="551011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Заголовок 1">
            <a:extLst>
              <a:ext uri="{FF2B5EF4-FFF2-40B4-BE49-F238E27FC236}">
                <a16:creationId xmlns:a16="http://schemas.microsoft.com/office/drawing/2014/main" id="{EE3611DE-D652-EEE1-61E3-992C32AF288D}"/>
              </a:ext>
            </a:extLst>
          </p:cNvPr>
          <p:cNvSpPr txBox="1">
            <a:spLocks/>
          </p:cNvSpPr>
          <p:nvPr/>
        </p:nvSpPr>
        <p:spPr>
          <a:xfrm>
            <a:off x="832037" y="3475667"/>
            <a:ext cx="486242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Структура</a:t>
            </a:r>
            <a:r>
              <a:rPr lang="en-US" sz="1800" kern="0" dirty="0"/>
              <a:t> </a:t>
            </a:r>
            <a:r>
              <a:rPr lang="ru-RU" sz="1800" kern="0" dirty="0"/>
              <a:t>вакансий по отраслям</a:t>
            </a:r>
            <a:endParaRPr lang="ru-KZ" sz="1800" kern="0" dirty="0"/>
          </a:p>
        </p:txBody>
      </p: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D1709341-E08B-3454-1C8C-E3A5F7FDF5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03896838"/>
              </p:ext>
            </p:extLst>
          </p:nvPr>
        </p:nvGraphicFramePr>
        <p:xfrm>
          <a:off x="6242246" y="3872797"/>
          <a:ext cx="551011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E6B1CDA8-31B2-9980-372C-6D83D2A2EFD9}"/>
              </a:ext>
            </a:extLst>
          </p:cNvPr>
          <p:cNvSpPr txBox="1">
            <a:spLocks/>
          </p:cNvSpPr>
          <p:nvPr/>
        </p:nvSpPr>
        <p:spPr>
          <a:xfrm>
            <a:off x="6889937" y="3475667"/>
            <a:ext cx="486242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Структура вакансий по регионам</a:t>
            </a:r>
            <a:endParaRPr lang="ru-KZ" sz="1800" kern="0" dirty="0"/>
          </a:p>
        </p:txBody>
      </p:sp>
      <p:graphicFrame>
        <p:nvGraphicFramePr>
          <p:cNvPr id="29" name="Таблица 28">
            <a:extLst>
              <a:ext uri="{FF2B5EF4-FFF2-40B4-BE49-F238E27FC236}">
                <a16:creationId xmlns:a16="http://schemas.microsoft.com/office/drawing/2014/main" id="{7ED756CC-2887-7C52-2247-0C447227CFA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109304"/>
              </p:ext>
            </p:extLst>
          </p:nvPr>
        </p:nvGraphicFramePr>
        <p:xfrm>
          <a:off x="1762081" y="3910013"/>
          <a:ext cx="271506" cy="22550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0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0%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8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8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8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7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6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4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3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ru-KZ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1%</a:t>
                      </a:r>
                      <a:r>
                        <a:rPr lang="ru-RU" sz="600" u="none" strike="noStrik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  <a:endParaRPr lang="ru-KZ" sz="600" b="0" i="0" u="none" strike="noStrik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30" name="Таблица 29">
            <a:extLst>
              <a:ext uri="{FF2B5EF4-FFF2-40B4-BE49-F238E27FC236}">
                <a16:creationId xmlns:a16="http://schemas.microsoft.com/office/drawing/2014/main" id="{F497777B-4EFF-215A-E0B3-EA23E097FAA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1089981"/>
              </p:ext>
            </p:extLst>
          </p:nvPr>
        </p:nvGraphicFramePr>
        <p:xfrm>
          <a:off x="7305631" y="3910013"/>
          <a:ext cx="271506" cy="22844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%</a:t>
                      </a: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411613"/>
                  </a:ext>
                </a:extLst>
              </a:tr>
            </a:tbl>
          </a:graphicData>
        </a:graphic>
      </p:graphicFrame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id="{CC193DC5-5E57-808F-5475-12832C1774CA}"/>
              </a:ext>
            </a:extLst>
          </p:cNvPr>
          <p:cNvCxnSpPr>
            <a:cxnSpLocks/>
          </p:cNvCxnSpPr>
          <p:nvPr/>
        </p:nvCxnSpPr>
        <p:spPr>
          <a:xfrm flipH="1">
            <a:off x="303213" y="3460357"/>
            <a:ext cx="11688762" cy="0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>
            <a:extLst>
              <a:ext uri="{FF2B5EF4-FFF2-40B4-BE49-F238E27FC236}">
                <a16:creationId xmlns:a16="http://schemas.microsoft.com/office/drawing/2014/main" id="{C066BE77-FD6B-355C-9541-65557C6841D0}"/>
              </a:ext>
            </a:extLst>
          </p:cNvPr>
          <p:cNvCxnSpPr>
            <a:cxnSpLocks/>
          </p:cNvCxnSpPr>
          <p:nvPr/>
        </p:nvCxnSpPr>
        <p:spPr>
          <a:xfrm flipV="1">
            <a:off x="6096000" y="3540868"/>
            <a:ext cx="0" cy="2879387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07155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935A8-C5ED-C078-8522-2DE6068675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CC2BB2-F8B3-C6D4-EA16-604FDB6E9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ызылорди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990B6ED-1CB3-E751-AAB8-F6CDC48C59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8CA3260-A59C-5E34-DE01-B63C564B6D07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353FE47-391C-95D6-267F-54E5ACD549C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0E8122F9-6005-E94A-9228-3FF473A5CEF3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3B63E3A-3D7C-07AD-DBB4-7B8329F80E7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714DC712-F0F5-FC52-F5F3-0969C59D0F7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C9BCBEB-B42C-7252-00E8-C8A619346CC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7F05541-D5E4-0F3C-BF13-787B44F688EB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312B80A9-C8A7-3E2A-3B89-257BC8CA5F1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FB0AB971-6115-CD71-71F3-50E2D07311B4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1829C43C-E9EB-D5E6-E1CB-601C2FEF3624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65EB506B-CFD0-98EB-971F-F6015DC40248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1CB92E0B-B934-9018-FCDD-F108599A2E4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7FD2FDFA-EE9D-726B-0AA8-13938625F10B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2DCF9414-9052-5602-F7D9-442DA4E19661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C522AEAD-EE3F-516B-AA40-CF42D0639B90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E532B5D0-3C46-C4A6-3AE5-FEED1872532A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C5EEF2CA-0CB6-F402-2767-C3DE3DD09FF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ы локомотив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в области транспорт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капитальному ремонту скваж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3772757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A1C38A-4426-E450-EF83-E0D1E2CF8B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98ABB5-BF71-75D1-6A5D-2C952833C2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ызылорди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2DC688F-BB77-5F6B-A673-81FA8A39C3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969101E-72DE-61CD-8FAC-29EDD7426A82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F56E99-5684-1548-FBF7-99085029CFC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9E9ED84-5DC0-01BD-A7B2-A1443CD4CDA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010F613-7E4D-B7D6-EEF7-0DF28DBB2D2D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7899347-57D8-4268-622D-DC139997C8F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499014E-C459-3AA8-2B8E-46E02F969D6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CF41776-D39E-50E6-7A82-020E2A0C2472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капитальному ремонту скваж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такс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3BB014FA-9F73-A200-14FC-154515B48CF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3BB6B7A-DA72-93C0-2A00-AFFEBCB4E03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DD85933-265F-D641-9549-29D58BE66C81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7E896C2F-B31A-3DEC-D41C-8B36802EBC7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5F029B51-EB4F-9284-8052-826833578A4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DDBF27A9-8B07-E8B6-3D5B-16C1C0FC26A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7B4A5437-A8FD-A1FF-C01C-6F71A365BA57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FB1AA16-D37A-191C-A297-ACEFA86607C6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0C9CB03D-ED47-730F-D4CB-5591F9215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3903360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B641886-2243-499A-E81A-ECB973E61BBD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8C1508D-F3C8-784F-AA7C-9611CA67C271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292B670B-5600-163E-EF01-52217EA8324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8651C820-659C-6AD4-45E9-AA918E92045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E149AEC-24F5-0CB5-652C-3EFC813D331F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28899195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7A0D94-0D97-BDE6-58BE-E18C11F0A10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4AC3869-8B23-7C3F-F34B-ED88EDE0AF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нгистау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FD34D4E-6F95-745D-1368-A106F38F9A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C768A772-1147-E862-5CCF-6B608C126B3E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3D46ADB-84BD-C3A4-9797-14F00C2901C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555B372-6DE3-8A6C-A298-F1BC1DE299D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F1F34B0-42DE-11B0-A9A3-5E624684B891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6308F2EF-57F8-A190-EC24-D838D729EE98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B868345-66EA-817D-C256-C7B9DA03836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931B4C2A-703F-8840-B4A6-AC6B673F2664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98AB7842-0221-3D42-CF2F-EB2A6CAA992D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D0CDB83-79CA-EEA6-4373-8F75369C2287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B6C56DE6-AC50-FE8E-788B-3D509BB8BA56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52F4786-47AD-30F0-406B-EF25999DA040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FD8262AC-EF1C-DEDC-E27B-93A778CCDD0A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694DDBB2-7087-F185-18F4-8773715A1BC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EAA725D4-5EAD-CC23-7CDE-FF9A5BBC9F00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0AEB2E6F-F71D-2ECE-67A8-DEBA173F50F1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850351A5-4ABA-5BEF-1686-653A07684DF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FD119030-7561-3337-28A4-5BED9DCC3ED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укторы и контролер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2027375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1367FF9-7019-6DC7-246D-3C8DDBF5D8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CFB1FA-39CA-085F-44B5-65987BD5CC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Мангистау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75DFE11-38ED-E4FF-96CA-F2917E0FCB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D9529B2-8290-AC5C-9A25-C3AB6B69FC74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5066BA0-6D1E-94FB-45E2-DF120460B0F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D1D55A1-BA03-6FF3-9A26-7E4531C6F61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4EFE2CF-15B4-587C-D4B2-C5DE4201CC03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4C36D3C-25F1-66A9-2C3A-E71A75A87B8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CAAEBFC-632A-071F-E89C-35DC7EC3084D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28DA529-798C-B063-1F88-9EA39FE5DA4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музы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ы и контролер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4D942342-414B-6F3B-7CCD-4CCEB4E0809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3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B257D209-E055-D6A5-A67A-60752C7D612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A2E6BA2-DC30-C3A0-BBE6-786A6D9638D8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7B70DD5-3A95-8F32-3C58-A7932BB2B519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4B07C51D-7B3C-61CC-E80A-9F110D44DBBE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569920A-0383-BE5A-95B4-1AD2B8E69709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127ED982-8997-BE90-17AD-6BDF1F7ED705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9A64AD20-D099-5463-42FC-97A43486183A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DB98049-3931-CAE0-C6C3-39EE63A4DB9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459933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C9F658C0-8981-0675-7C73-C9796D477675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C9987DB0-9087-80B1-77AE-0A3433D49CC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AB445E0-B332-0A02-E433-E1EBB47C210C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045B02F4-D531-0D00-DE01-44F12006B487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F532670-8C11-F7A4-BAB8-0C27EE0DBF50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30394088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5183D44-8766-DE66-F3F1-5F072AF58F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12E118-EA75-49A1-D2C9-C37F750DF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влодар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BBB86AF-F5FF-A9E5-B17D-C58BEE3D78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1FA0D64-F79E-FDF5-CAD5-62991EE9330E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2D3D7C9-6756-1F02-9EFA-14DE249348D4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1B771C5-908B-E055-4AC9-2E7B767E26A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9A9C52D-8CAA-A30F-881F-C7405BFC82A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1A12F910-C17E-B752-AB86-989342EB740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C41A29A-3FF4-BC36-F076-35CD6214A0E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3CC3EA24-5E0A-502D-53D1-083611AA216E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7D65B23D-D0F4-38A2-ABA5-2D2CDEBF0EBB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1DFA7567-8FCE-387C-5951-9DD041644F1F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78ADFD77-FAD0-2059-B9AE-D7A5B23C60C7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5C065F2B-FFB3-AFF3-DFC1-9D7A7156EDF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5960EB2-7F63-9736-29F4-39CF3F4FD5A1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D2D0D8A7-45F3-5FA7-491F-541454DF98D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C123013-E211-9C8D-B92A-56F86F2E4FAD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9876E473-81F6-E7C8-5D42-A1C0E048C98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A98955E-25A0-D59B-E496-0FED8589C74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90A3AE17-3C80-345A-5A78-3F4CB77F6DA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0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литьевых машин для цветных металл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ромышленных робо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рудообжигательной и металообжигательной печ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на производств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плавлению, литью металла и прокатного стан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912805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3F7183-8DD0-64B9-26D1-8DC32AEEC13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7F7C0A1-3C39-26B6-2901-2D681619EF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авлодар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4D6B9B6-36C5-EB1C-C825-A499F70BA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E55E2D4-E668-709C-1A1D-197EF73F244E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1995CC9-91EC-BCBA-88E1-38B3E385D30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942C21B-3A19-F9F3-1C56-7AAEC8012D1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319AEDB-B01B-7375-4943-3078EFF677A2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56717FB-67A4-BBAC-2CFD-76D72A52109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AE57733-9747-3884-AF07-B86F0D00D07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4574440-6BA5-0B2E-A11E-4EB9889EEB37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литьевых машин для цветных металл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удообжигательно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и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ообжигательно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ч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лавлению, литью металла и прокатного стан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автомобилей и отдельных част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жарны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омышленных робо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подвижного соста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8D714CB8-4A38-8FFC-BC4B-87C577274DD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 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2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8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5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8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DBCB3589-596A-DB05-6695-6DC64DE2172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672CCEA-14FD-9573-00D9-8BAA3F65B8C4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2D477131-8BED-3079-3B01-928344C6B38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9660B31F-B3C6-0185-F357-06D0CDC75E00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7B026B5-DDD6-84BE-92CA-2B0B9FD18DE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8D305532-F7F9-716B-28C0-8A3AD634FDF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C4E5DD5-35BF-0CB0-AFE0-D64B998AE432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1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FD633D23-C8DF-D22E-E660-1E8A78FF219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523982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9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2244454-0346-DC1F-FE9D-A89F979509A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E7A0191-0F02-7AF3-DEB2-BA08A9E6AD7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71C84B3-5B48-5A11-00EC-451BB7E906D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D2A3660-E0E9-737C-5DFA-280BB9F8BDD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741F7B0-7A5E-5688-879C-E47DFAAED254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16802650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01F65E-BB0A-60D7-C081-6F5BEB7EF7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0D329A7-33AF-E339-72FD-D0C2BBE273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.-Казахста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5E2ECE0-22D3-2813-C9B4-3CDC77CE8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1F240F5-3672-47D6-351E-00D24E29003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F9B1FFD-268E-C38A-B311-71D1A4A4EAE1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24CAEE65-91FA-934A-7C26-B127D9E573B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8E2D2D9-D630-8DB8-3AD8-C047A3B2600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09B9F128-0E28-7C58-C8AE-4012931B32C0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2A8EBEB-0756-3B21-828C-C36AAE5CED5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87148E0-8EA8-AB2F-6C9E-4127FD486D97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EA9D59AD-5EE7-C9CC-14B1-4F6B91729838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3D5E6D46-E70C-1E63-1BC7-AE0FF0CD22C8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4BC8E07-6C0B-FEF7-F3F6-F2862BD3859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A53282D-17AF-A6A3-06F9-9094C9B1CEF7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B50FBCC4-2ABF-600B-5980-5DAC53557BF5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B3FE254A-B47E-D483-91C7-3809F8CCE13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96E5416A-CCAF-F10B-4114-693AB677F143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25321A32-038A-9420-A127-552A0402C64A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A53C0DC3-8690-6690-E155-472C84E7B986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E981D06B-47ED-7078-3209-5F4EC04D049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швей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7671650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FB8925-AFBE-60A7-F8A1-57B6BF81A7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D29E36-C478-8F17-2F76-E6816DB006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.-Казахста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5EC4C6C-1114-3AEB-D84E-F5F74CC4B9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AB2FACA-002B-E642-78CE-E71BF434BD5A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93008AF-D125-A5D8-A8DD-B354B1E1397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1A6FFB3-5CD5-B113-E5A5-7B38D13839B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54560D9-37BF-91F4-C190-EA2636ADEA8B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A0B6418-A037-5FB8-38A8-4D32E7FB5B9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759CE8F-CB38-71A9-FFBB-FA610456D646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CF6AB32A-3DC4-5945-5833-4901290FFD45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швей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учи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хлебобулочных издел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6ACF938-06FE-53B9-BF05-AE55AF82801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55F4C39C-F777-5671-512D-91A6DE4CE205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4E39DA2-55E1-7BB2-D659-8A7A9C77C80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E08199F-5DAA-8F81-AB9C-37380DEBAE0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B92065A-A55E-107A-FD65-49714591E40F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3D78BF5-742D-95B1-2937-41A62E59769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C322F7E8-BCA1-0EC3-8211-76BC8B19DEDD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78444380-CA91-91B3-64E6-62504AE5807E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B81C3DF0-C41A-630D-F0D5-77C126F845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05401741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1A05123-1882-66CE-1762-3E74FE617870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8D6B77BE-4B35-CAEE-21D8-3783891EF15A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7AD74FD-9B30-7454-A662-E8C835CB7096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286ABEAD-8ABB-3C68-886C-86BAECC33C53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17ACE64-CC24-E3D5-E480-70CD207ECB52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75628372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B256E0-CC44-0029-7714-87FEBFEB0F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9606FCA-62B7-3788-59E0-5EAA80ECC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уркеста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BF9E1C8-3332-78F9-91A2-AFB68E5AE5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776DA8F-D5C1-678C-9893-0EE2AD908886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D090D0F-3F38-C78C-ECE8-058DFED983F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AD51288B-A49A-C4A4-9CDC-9BA0F0FFA82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E6018E7-7FF4-61E7-3773-CB28C1A5B50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DAAB927-99EE-6CA2-558E-8941CB7ACFD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5700693-6533-731A-69FC-F1CAFDF00DC9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31B7703-B44E-570F-5F31-C608F4E126D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C82328DE-79C9-66D5-9929-9DA2F5A1D68A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0339B1D1-B290-8C3E-BEC2-CC275E92E719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D398F241-E3E6-6C44-8625-4842D4E61B86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F98B0E9E-7912-154E-5967-7315B9255BA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E23AD36B-04C7-6849-E911-F06BCCA3E06F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2A36C1A5-A060-68CB-A93C-52B14FC926BA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44779BD1-EA36-EB44-99BB-D566EF82A38F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A11A9068-4A82-0B33-AE61-31BBA9A8D59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28D347B6-2F13-4EA9-E1DF-261DDA30518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8405E63E-B8AE-40E2-2BF5-F1FA95691368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 6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3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месленники по глине и керамик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риль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ачки и гладильщицы вручную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376595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F64E5B0-DEC8-5BF9-D3DC-4482237532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B60C73-886C-AF2F-75DA-4925CD9008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уркеста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98470E4-CDEA-B2BB-FFB0-6C95EB707A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3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9C840E5E-4721-78CB-D0BC-CFB91E37A447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BD2F890-69CD-C238-8EC4-3F17EAE8303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56D0028-A97A-E5E5-C566-7B11B28500E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C5D1EF4-8A93-AD9D-09AE-41C76533AFB4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5278980-6D5A-6ED5-5172-520CECC6D4C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F5B28A7-15A7-96DE-CC45-CFA1A5D63F60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56AF611-D9AE-3D91-6FD9-9A876F09A17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6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глине и керамик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ачки и гладильщицы вручну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выращиванию полевых культур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довники и садовод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A682DBA-204D-1420-1EEE-790C8410226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 6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6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5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 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3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43F5A5A-C0F0-3A1E-23F9-6AA66F083704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0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C4BF80B-0CBD-E314-F343-D7A48EE1F3CA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E1EA14B-CD83-80F4-96CB-C7FAC2D864B1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188611D-0324-1EBE-707E-30C0EFFC31A7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D1E1F576-4CB5-0BD0-4426-C0BE8E13A469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D5D7BF0D-FE50-9425-A3BF-0F8FCE75D097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FAF28F3E-A07D-32DA-F828-F8FD143DBE87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8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C3625402-7BE7-3E8A-5928-CF1E47B456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1509029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64E93FD-386B-AA08-2716-5FA57FDD5E4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4E29CAD-6114-8C54-E9F9-125CAB99D18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F1E15A7B-3784-E089-5C3B-DD19734FA20D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67C67ED6-BF81-B659-9F06-839900702CFF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1AE33B6-4F1C-211F-A01B-0056A435C36E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9416648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90875F-9C22-57CF-AA68-BE68DEFA85A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8877F3-E11F-E58C-6E66-FD1654DD75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ынок труда в 2023-2024 годах: квалифицированные работники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BFDEAC0-0A2E-3C5C-2222-8C42F636DC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CF295C55-5AAF-5494-0DBA-D9D78B13DC7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99304133"/>
              </p:ext>
            </p:extLst>
          </p:nvPr>
        </p:nvGraphicFramePr>
        <p:xfrm>
          <a:off x="184346" y="991574"/>
          <a:ext cx="6681958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6C9CE66-7986-F2D3-E27C-186CA1F41D4B}"/>
              </a:ext>
            </a:extLst>
          </p:cNvPr>
          <p:cNvSpPr txBox="1">
            <a:spLocks/>
          </p:cNvSpPr>
          <p:nvPr/>
        </p:nvSpPr>
        <p:spPr>
          <a:xfrm>
            <a:off x="2487265" y="635030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Структура по отраслям</a:t>
            </a:r>
            <a:endParaRPr lang="ru-KZ" sz="1800" kern="0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B68AD695-DEEC-7AFE-3BEF-792B93750D4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70056275"/>
              </p:ext>
            </p:extLst>
          </p:nvPr>
        </p:nvGraphicFramePr>
        <p:xfrm>
          <a:off x="1762081" y="1028790"/>
          <a:ext cx="271506" cy="22550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%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734A3223-4DBE-BAC4-1485-07EAE69FC9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28592389"/>
              </p:ext>
            </p:extLst>
          </p:nvPr>
        </p:nvGraphicFramePr>
        <p:xfrm>
          <a:off x="669581" y="3872797"/>
          <a:ext cx="609352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CB29D72-A42A-732E-5BEC-9A575ACE7899}"/>
              </a:ext>
            </a:extLst>
          </p:cNvPr>
          <p:cNvSpPr txBox="1">
            <a:spLocks/>
          </p:cNvSpPr>
          <p:nvPr/>
        </p:nvSpPr>
        <p:spPr>
          <a:xfrm>
            <a:off x="2487265" y="347566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Структура по регионам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F4EF4C42-D0C9-A766-2A61-D9D607EADD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8572935"/>
              </p:ext>
            </p:extLst>
          </p:nvPr>
        </p:nvGraphicFramePr>
        <p:xfrm>
          <a:off x="1732967" y="3910013"/>
          <a:ext cx="271506" cy="22844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411613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8D9176F-B7C1-C93F-86DD-07ECD27A681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50D38A6E-5B23-92B6-3DA6-8F6829139E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47271448"/>
              </p:ext>
            </p:extLst>
          </p:nvPr>
        </p:nvGraphicFramePr>
        <p:xfrm>
          <a:off x="7312626" y="991713"/>
          <a:ext cx="4591829" cy="5547360"/>
        </p:xfrm>
        <a:graphic>
          <a:graphicData uri="http://schemas.openxmlformats.org/drawingml/2006/table">
            <a:tbl>
              <a:tblPr/>
              <a:tblGrid>
                <a:gridCol w="3447449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61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598280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 % к итогу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Учителя средней школы по общественным наукам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7 8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спитатели в дошкольном образовани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 7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редний медицинский персонал по уходу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 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аботники по уходу за больным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 53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хранн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 91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Учителя начальной школ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 8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яни (в детском саду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 87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 и шоферы легковых автомобиле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 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Учителя средней школы по естественным наукам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4 2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Учителя средней школы по математическим наукам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2 9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ухгалтер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8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одавцы магазинов и их помощн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6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овара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0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еподаватели в области специального образовани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8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сихолог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6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нтехники и трубопроводч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фисные служащие широкого профил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2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екретари широкого профил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0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рапевты и врачи общей практ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6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ые учителя средней школ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6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портивные тренеры и преподавател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51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лесари промышленного оборудовани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4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Учителя средней школы по техническим наукам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1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бойлеров и паровых машин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9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уководители подразделений в сфере образовани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8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азорезч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5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троители-монтажники и рабочие родственных занят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4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ассиры и продавцы билетов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 7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 автобусов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по выработке электроэнерги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ракторист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8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веи и реставраторы одежды и ткан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74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 грузового автомобил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5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омонтеры и ремонтники по высоковольтным ЛЭП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4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омонтеры (общий профиль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2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ые специалисты в области образовани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9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-электрики (общий профиль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9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ые специалисты по методике обучения.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8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генты по коммерческим продажам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3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 в области химических и физических наук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2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упервайзеры по документообороту и офисным работам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2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иблиотекар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14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ункциональные руководители по бюджету и финансам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9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татные юрист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9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абочие по техническому обслуживанию зданий и сооружен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8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очие автослесари и автомехан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Закупщики и снабженц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3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узыканты, певцы и композитор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2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спекторы строительства, по контролю качества и ОТ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5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уководители строительных подразделен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41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того по топ-50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59 576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0%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2365988"/>
                  </a:ext>
                </a:extLst>
              </a:tr>
            </a:tbl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537C6950-7B6B-CE22-ABC6-DBACC66BD7B2}"/>
              </a:ext>
            </a:extLst>
          </p:cNvPr>
          <p:cNvCxnSpPr>
            <a:cxnSpLocks/>
          </p:cNvCxnSpPr>
          <p:nvPr/>
        </p:nvCxnSpPr>
        <p:spPr>
          <a:xfrm flipV="1">
            <a:off x="7036279" y="750498"/>
            <a:ext cx="0" cy="5669757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421378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9A9BA5-C7D7-4358-D94E-F1C7F73FFA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F327032-87B6-6178-2076-AD1621D128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ласть Улытау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4587D59-A3FB-CE3D-0AC7-F52A2E825D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582FD55-C626-1A9D-CC16-5292F397962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2629204-A72B-F562-08B0-BA95686011F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55403E5-DE8B-415E-5050-B7460A9DB38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04B9B25-EF6B-CA63-E591-4A7FB1D1A9D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A5699EB-7C1C-1EE4-BF63-E0A7CFF5BCC4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E2258F8-D24F-D2B9-7FF1-A119971547D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DEB76CA-3728-FBF6-2E68-FBF28FC8BCE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D81C67AE-EFB4-3273-C5DA-76D46915B75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74FD4159-F89C-9FF8-72F2-1E30A2B1641B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A4B8CA5F-E9AC-5AD0-FEAA-3A260D7D9170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2E38E755-B89A-ECC7-9C10-497A1B28689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A3D08569-9C61-2BDD-D731-A368A840F13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81A4E312-4D3D-D935-F47D-20E925CE63C0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2ABE8679-7375-A908-F4AD-C6CC96BFD55C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FAA0D520-CD21-9A00-A910-4A048F3ED284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61128408-D198-5B44-7830-AF86C1FC9EC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E351BD26-9BDC-E634-A0FC-74909336A74C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чтальоны и курь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9961360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6E92F2D-E946-B454-FBF9-9AC77334AA6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1003236-1150-6307-3F48-CE224C6C95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ласть </a:t>
            </a:r>
            <a:r>
              <a:rPr lang="ru-RU" dirty="0" err="1"/>
              <a:t>Улытау</a:t>
            </a:r>
            <a:r>
              <a:rPr lang="ru-RU" dirty="0"/>
              <a:t>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141AB4A-5817-B922-A178-ABDA65AA3E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8A3809E-02B0-B4C9-0818-A461A9FD2E56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FB4B05-7A5E-4103-2DB3-DB8DB585233F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D3DACC0-8E3D-1500-25B0-8E2E39C1A0A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FDE7EC8-5C38-13A4-35B9-674E22BE0434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39A3805-079C-4A72-87F5-ABC126B6F9E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274FCDD-6F7B-87AD-0ED7-2AE9C1E69D5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08917A9-F8F7-50A2-56B4-4EEF931F2042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чтальоны и курь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жарны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нерге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нцоры и хореограф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Корпуса «Б»: аппараты акимов и маслиха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5601BE8-E924-E489-599E-16162CFDF75C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6D6EC610-B905-1B34-C9FD-F00D6C388452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944EE237-5B11-DA2D-3454-B66E80A0328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B509522B-9CCF-D9FD-A5C9-2AD23408C79D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4E261BDE-957A-D0D6-67DA-83A1F1C0680D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4E6866CB-493C-E6CC-EC75-46ACDF8FC30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8333E9E-27CC-479A-3BFF-BC3320BB4282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CEC750C0-FA5C-A4EA-C515-EB7BB5001AE7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26032561-7642-83A7-871E-90B1FE6D58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7577034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CF574D4-53E0-BA47-FA49-FF99A3B6C3E9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1F0864E-7B6C-F60A-CCB5-C9AE63D7A71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0ED501DD-3604-2E9F-8F6D-BC58226C0563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1BED2E79-2861-CB05-1E44-A01A98FABDCE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5E9A904-479A-EABC-6E81-B3320B406B6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84099074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20E935-8CF4-17C8-D789-EA2BA42C7B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F80ACD-99BB-9459-DF0F-FD5807176C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.-Казахстанская обла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167FCF6-0008-7284-85B9-64C250B7E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05B9EB2-7068-3122-6823-D6152D4E2A2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8B83FC8-EF11-BCAE-F03B-8E257F54FD9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308067EF-FC27-7A1A-F91D-399A94163B6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FF930FD-8726-90C0-DCBC-CF53FC86A7E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86CF108-45D8-CE13-5859-272F8942624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8810AF6-DAD3-343F-D617-E50C0AC7D6E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8ABC4A3-324B-5424-B5F2-C59BD5B6AF6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4D479F71-C3CB-F341-DAC9-66CD60E11A7A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C6992F92-DCDD-5BBE-B00D-2632B4F6A2FB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F822BF44-44E6-81C4-4296-AF0EC8216659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70491735-2947-F4C3-8F8A-E27C416D1043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1D5EA58F-4678-0C8D-75F2-C90E8BE1B86B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4C89A0E8-CD70-FFE3-9D19-DCBF7450DD37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C80F1C52-9406-48EB-7555-6CD8046B7C3D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35AC3FCD-350C-180C-557B-DBB5C18FECA7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584F48B-67C3-DDEF-3173-0D0E1715D218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2FF22854-A098-99D0-3186-67246E5F612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учите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механ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Члены палубной команд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орабочие и шахтеры подземных выработо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5023076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64B1BC8-073F-D671-8A73-39A3A15574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7E5251A-E3F7-EC41-6172-EBC9F5449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.-Казахстанская обла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1489BF8-DB51-A984-276D-42226A87AF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9398C88-DD3C-87D2-69F7-5E26E13AC320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D20733D-045B-7F91-F2D9-D21B7475DEC7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25ADD12E-5EAF-F12F-705C-48126FA0AA8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ADEDC33-5A9F-EB5E-C26D-CE55ABB70966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F16C268-EB21-A68D-BFC1-D18447F7D11C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282744D-D99D-EB27-A400-D435CB97AAC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EDE9830-00CD-DCA3-57C5-5C7DCBC6A93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учи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и шахтеры подземных выработок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Члены палубной команд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механ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7E50996-8B67-A66E-5DD9-DFB68688534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5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 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0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A47852BE-6906-CF23-CEA7-4F48FE78E17B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D5442E6-9120-B578-60DF-CD18735A23D3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FE7BF0B2-CF42-16FA-2805-8C5315B8D66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D8B49751-FC77-6A4B-B25A-BD8D3843128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6DBFB23-BB73-F691-A5E7-07893AED40FA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5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445CB13A-CBA1-ACE6-08E0-4520B7E0497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E2AEFEC5-41B5-4E85-FCEE-4003E39C084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157056F7-7D1C-290F-2261-0E90648EFDF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9383850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0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047D48C-CA01-4B74-A12D-1FF0CB8EA709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06FF8EF2-2579-E04C-53B1-FAEF02167294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7445CADF-9217-5D98-529F-4A8CDD49137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A90488E-706A-7848-00C5-C99617FFFB5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E9F1BF3-598F-27FA-C01D-49CDB2D007F9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95864634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859D5A9-1DDB-EB9C-E3A1-A6C6087C29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7F1889C-BF5A-1A81-3F76-4AFF26259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. Астана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1B1ACAF-3975-2D93-64CC-407C7D28FF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F7F831AC-3C5B-C688-AF64-324EB63FEFCB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46F99DA-4721-9771-645B-AA6B20438C68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18DA1B41-C262-1A76-574F-74E6383CDD8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EE5609C-8293-F395-6008-3874B1D62ED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EAF044CE-D366-D2AA-013B-E71AC94A29DB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3D80BE2-8B94-F164-33AE-1CE9A97020F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9AD07A3-2FAC-6F27-D958-D838DDCDBB54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E4AD6BF8-794A-78FA-40FD-5C90FB83256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72EA0AB0-892D-6B8B-5318-487DB1B2D79E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EB552903-9DD7-83A3-785E-D62EF9DDBFAA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C85F30E7-A94B-8F2E-C2B4-D40B41693CD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3E8544A2-318D-3801-036E-8C06CD2D500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371D43BA-6E93-5240-FB3A-F57F8805141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38D735E2-7709-82A3-F1DD-6DEF6608F65E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B08D5B7D-DFA3-6996-7A27-A93C93CE80B9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44F8360E-A65C-88C5-A21F-02305E40578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9C312913-FDD1-3D22-C570-AE28A8C27EF8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9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ЦГО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лицейск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учите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строи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517118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781FDB-7BEA-42C0-04A2-8D9E716613B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E8DDC6-5C76-1DA4-A801-2674E679A1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. Астана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44C99365-D5E0-74E1-4C80-D93DA05B68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F19CEAF-EB87-BA84-2783-3C7EBDB6F25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31869C4-FA27-AB3E-9A4A-9DBBD2033EEB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F74783D-96F6-71C5-C4C8-B64CD3EB3F0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D88236E-84C9-B20C-577C-9362922158F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83993DA-599A-7E8E-DEC6-03D153D359D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A923594-4825-71C9-79F3-6FD1E55CF3C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473CE94-7231-BD63-EDDE-CFC431429DF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лицейск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учителе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ЦГ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операциям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троител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музы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5D8E323-9889-E5DB-1E60-BCDDCE10A3D2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 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5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2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5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 9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BDCFC39-8E77-5211-CF24-AF2BFECA0B33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3237E45-962C-D2B0-B1A3-26B9953FF795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0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AA6A4082-793F-C046-5B1A-F3FD5491B55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E6F86931-73D5-6F71-32D9-FEAE1F8E4900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8E511E45-6C98-B7C9-3BFF-6F5201E701E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77A4242C-0063-8B15-0552-0B7ED10AE42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B060495-7AC1-4E8A-BB13-811ED6F23575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58581842-2057-351D-079A-9AF8A306F5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8463823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6914071-D429-A36B-E4C4-9F927242FF1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D7C1A7F-752C-3861-D6EB-7E6AFC576D5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4666F806-CF97-9AE0-3A4C-BA531BD6E68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1A382C3-065B-B8A6-8739-4460439CFAC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36189C4D-375F-5AD6-D6CA-EC96AA611C4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70834982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10073F-5074-92D0-D3F1-F1ABAB5E47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3303C4-225B-D753-5D72-EAA9047535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. Алматы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82EF384-7F9B-791D-F10A-EBDF548B3F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9B656E7B-CA8A-013F-1580-2070C75C3205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B52C79B-84A2-A1CE-F97D-5AFCE53EEFEB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BDDDBCBF-DF9A-89B3-15B3-9A519B6DD69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8A4D05D-5003-2136-AC03-E24672DC077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DC0417F9-2812-736B-05A4-6BF6D9570835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F164E36-9439-B1C9-24CD-98AEBC0DB7A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29E2BF-A290-0B9E-26BE-B39691D5A7AB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CCC739E6-3A52-D52F-04DE-8E2904A15B4D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3AFFBFAD-EE51-0AB5-A552-8EF2E9A83C8D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72E50F4-5C82-8A79-0E18-0AB5DF464EA0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85B0137-A81D-4A1B-87A7-5B1ADA5B498E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F6A98ECC-8AC0-6E4C-216C-FFE2A49A5F68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CA76C0C5-4AF0-4617-5ED9-8C8E4F4B1814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6AA91523-8A8B-8552-AD75-2983D5EA8F91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9FF41D28-FFC0-45CF-D3B9-020A43F51E08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DFEF54E8-7263-E9B5-F0D0-089AF3975A7E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8FEFBD91-9A62-CA7C-5DCD-FE258D7E4D0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1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3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5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паковщики вручную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автоматизац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на склад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рговцы на улицах и рынк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05522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FF6300-19EF-31F3-F272-1921B5FFF9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5746F9F-0E1F-F623-CB18-CAC8B7C17D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. Алматы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D0EA638-DDF4-4448-A99B-670B2B1BA6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1125F9A-2C76-E021-DBC4-F24F4840BC1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62CF3B9-EDA2-0F58-5BD6-23B3A7049BD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A00BBB6-FBFD-4C40-F47E-D36A88DC1A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2D7EC98-4DFC-D5AB-5F4F-6CF1F8BB1AD4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AAE1A0A-EA29-44C9-48B8-8360E95D6F3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F3334AF-397D-8729-114C-B153FB653E06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EA47C7D-981F-C0D6-E0E5-0949FB63934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центр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автоматизаци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сопровождению ПО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на складах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паковщики вручную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горнодобывающей промышленност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кладирования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0863B75-EC5E-331A-ED1F-34F3DE18952C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3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 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5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AFC8670-B998-B843-1B51-0E648340B0D2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3,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10C55FA-8CCD-48B1-FD10-F65BF1F8A07F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4,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B4EE828-F88C-4291-3053-61C0D4374BA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E5E56CF0-DCDF-EFE6-C859-6F834BE71178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7DFF463F-9443-05F0-444B-00A308476AA2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1A30060-FF4D-0A12-3876-94786624BC3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A198CFA-D84C-8BAC-8919-251DF089BCFC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3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CE9DEAD6-139D-7D68-9111-88E4EFABA0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1448212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з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дравоохран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л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брабат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. и вспом. обслужи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ьство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ранспорт и складир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слуги по проживанию и питани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индивидуальные услуги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ормация и связ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ф. и научная деятель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ы и страхова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кусство и развлечени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перации с недвижимостью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с. управление и соц. обеспеч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одобывающая промышленность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оснабжение и удаление отходов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- и энергоснабжение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льское хозяйство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947B64C-9591-D2D4-E8AC-BB0B6E46C1E2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6756589-34AB-D6D5-5F5C-92AC93F8E0A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C25D1B5F-5A8C-8533-A0E9-407482B30B5F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6DF73635-427B-C40E-75F4-9D514CC5177C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FE65ED8-0859-A2FD-154A-65CC5078B285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08998692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04919B-5471-99C6-181D-F4211E5BAE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3256B15-AAB9-C8AF-FF17-B228FEC31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. Шымкент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35D1B81-7F10-9C57-482A-C18464C883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B60EA79-B4D1-1892-99F8-611666B735D5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4862AFD-B912-4276-60BA-14A86B265981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отраслям (2024)</a:t>
            </a:r>
            <a:endParaRPr lang="ru-KZ" sz="1400" kern="0" dirty="0"/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CA115901-2215-571D-047A-82C14B1F397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3568DE2-41F0-57A1-6EA5-2E777087201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BFB4CE45-4809-0868-72C9-FE1992C8E42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17C2C3A-6B67-72C2-C349-F8823F325AF0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736AC43-9990-907C-E6DB-63E278D6961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5D46A32D-0AC4-97E6-5860-352A2D68D13E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2" name="Диаграмма 11">
            <a:extLst>
              <a:ext uri="{FF2B5EF4-FFF2-40B4-BE49-F238E27FC236}">
                <a16:creationId xmlns:a16="http://schemas.microsoft.com/office/drawing/2014/main" id="{AC6E0371-02A1-AB22-7751-40E22CAA4641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57CC1A18-62C0-C724-D6C3-B60F9FB9774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DDC0CEC8-C8E9-82E8-EB82-4DB7920178C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5" name="Заголовок 1">
            <a:extLst>
              <a:ext uri="{FF2B5EF4-FFF2-40B4-BE49-F238E27FC236}">
                <a16:creationId xmlns:a16="http://schemas.microsoft.com/office/drawing/2014/main" id="{2C5505B7-6C89-5ED6-169E-6D904EDF093B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9898E1C5-8312-9A3A-A34B-8D409C563364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ABC9A569-6540-E952-6267-20DB48DC3CBE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18" name="Диаграмма 17">
            <a:extLst>
              <a:ext uri="{FF2B5EF4-FFF2-40B4-BE49-F238E27FC236}">
                <a16:creationId xmlns:a16="http://schemas.microsoft.com/office/drawing/2014/main" id="{E1FA7337-62FB-A450-01FB-8C753E06F24B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7B325AC-9015-FB4D-75D4-4716ADEDA26F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21" name="Таблица 20">
            <a:extLst>
              <a:ext uri="{FF2B5EF4-FFF2-40B4-BE49-F238E27FC236}">
                <a16:creationId xmlns:a16="http://schemas.microsoft.com/office/drawing/2014/main" id="{9BB950A2-8593-C37A-4371-BCCE50212EC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136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97542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8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станка для покрытия провод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изготовлению асбестоцементных издел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ы и работники по сбору задолженностей и платеж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136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5473256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107A46-6FF9-3E6C-DBAE-A03DD6C980B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530C7D6-C9F6-56D4-7142-D81D6BB757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. Шымкент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41D93FD-80E5-A594-E4D4-20C80FC36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4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AF59F865-ADBF-104A-1FDB-543501FE243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отрасля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725F27F-9C89-1D99-4BC7-3E249687889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559F814-DBAF-7DDB-7C67-A9677DDDBF1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356EA13-4624-8B3A-6148-34FF3BA3132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E1EF459-7366-BFA8-932D-9FACDF9E66D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F2474B5-2E66-E831-FA86-2AF815ACFA2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CB2A656-17D5-BD4E-42E5-C50B165FA1F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азнорабочие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4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0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неквалифицированные рабочие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5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Дворники и уборщики открытых территори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67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торожи и рабочие родственных заняти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редний медицинский персонал по уходу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4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аботники по уходу за больным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хранник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начальной школ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Музыканты, певцы и композитор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борщики помещени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ители и шоферы легковых автомобиле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портивные тренеры и преподавател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рапевты и врачи общей практик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ы по изготовлению асбестоцементных издели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ы станка для покрытия проводов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ухгалтер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спитатели в дошкольном образовани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ортовые грузчик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яни (в детском саду)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екретари широкого профил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борщики в офисах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лужащие </a:t>
                      </a:r>
                      <a:r>
                        <a:rPr lang="en-US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Call-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центров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фисные служащие широкого профил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веи и реставраторы одежды и ткан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автослесари и автомеханик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оллекторы и работники по сбору задолженностей и платеже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уководители подразделений по контролю качества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генты по коммерческим продажам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антехники и трубопроводчик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2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анцоры и хореограф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сих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ы по производству зерновых продуктов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Библиотекар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Штатные юрист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торы по выработке электроэнергии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ые учителя средней школ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налитики по маркетингу и исследованию рынка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ители автобусов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уководители строительных подразделений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7DDC512-D22A-09DE-6B7A-7C9D190901C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4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6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0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7 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6 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2 4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7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1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5 7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9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 4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CA7988E-4D79-8CA2-8AEA-D4507B00DF1B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7,8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1BF5C1D4-5ED4-48DE-61ED-B9CC4E93251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4,6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DA91D95-351F-44FC-3EFF-75163F9D377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4AD9CCC-0320-289F-34B6-2E6C4835194D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67BF939-3C07-8037-B4B0-D29D9509E5C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2,4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6349988-D255-51C8-FC4D-366EE441A318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A15CDD83-E902-B078-B7B3-53A58C192057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 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0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 5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9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 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74F44FAD-EA98-A589-8D67-042FE83AB0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8920672"/>
              </p:ext>
            </p:extLst>
          </p:nvPr>
        </p:nvGraphicFramePr>
        <p:xfrm>
          <a:off x="213379" y="3257582"/>
          <a:ext cx="3348000" cy="32384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76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620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з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с. управление и соц. обеспеч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 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Здравоохран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брабатывающая промышлен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орговл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8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троительство 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 индивидуальные услуги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скусство и развлечени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ранспорт и складир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дм. и вспом. обслужи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46</a:t>
                      </a:r>
                    </a:p>
                  </a:txBody>
                  <a:tcPr marL="9525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ф. и научная деятель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Электро- и энергоснабже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доснабжение и удаление отходов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Сельское хозяйство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Услуги по проживанию и питанию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Финансы и страхование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Операции с недвижимостью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Информация и связ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70446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орнодобывающая промышленность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41BD67E-2B5E-DA35-A9BA-0586BE47061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9538AD6C-D3CA-1AD8-5790-B23B9B8EAF3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819EF578-148B-75A7-7B53-418C925407DD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72905255-87F1-A889-ECC6-585390F8A872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F80814F-E79C-5D3A-D995-E51B5B02F62C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6237586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FC8008-4A19-FA80-1C1A-C8C40FE016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304381-DBF5-7547-118D-1BDD4A6347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ынок труда в 2023-2024 годах: рабочие профессии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7E467B4-CDD9-F5B4-EA75-DACD58B77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4" name="Диаграмма 3">
            <a:extLst>
              <a:ext uri="{FF2B5EF4-FFF2-40B4-BE49-F238E27FC236}">
                <a16:creationId xmlns:a16="http://schemas.microsoft.com/office/drawing/2014/main" id="{D511F783-83E6-D4B5-C54A-48B514DF03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05098703"/>
              </p:ext>
            </p:extLst>
          </p:nvPr>
        </p:nvGraphicFramePr>
        <p:xfrm>
          <a:off x="184346" y="991574"/>
          <a:ext cx="6681958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B77DD522-18B5-0374-5327-B64E2A5990AE}"/>
              </a:ext>
            </a:extLst>
          </p:cNvPr>
          <p:cNvSpPr txBox="1">
            <a:spLocks/>
          </p:cNvSpPr>
          <p:nvPr/>
        </p:nvSpPr>
        <p:spPr>
          <a:xfrm>
            <a:off x="2487265" y="635030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Структура по отраслям</a:t>
            </a:r>
            <a:endParaRPr lang="ru-KZ" sz="1800" kern="0" dirty="0"/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298F721B-436E-3CF0-A8D3-D64156E1D2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508914"/>
              </p:ext>
            </p:extLst>
          </p:nvPr>
        </p:nvGraphicFramePr>
        <p:xfrm>
          <a:off x="1762081" y="1028790"/>
          <a:ext cx="271506" cy="225503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~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~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8686">
                <a:tc>
                  <a:txBody>
                    <a:bodyPr/>
                    <a:lstStyle/>
                    <a:p>
                      <a:pPr algn="l" fontAlgn="b"/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~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0%</a:t>
                      </a:r>
                      <a:r>
                        <a:rPr lang="en-US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</a:tbl>
          </a:graphicData>
        </a:graphic>
      </p:graphicFrame>
      <p:graphicFrame>
        <p:nvGraphicFramePr>
          <p:cNvPr id="7" name="Диаграмма 6">
            <a:extLst>
              <a:ext uri="{FF2B5EF4-FFF2-40B4-BE49-F238E27FC236}">
                <a16:creationId xmlns:a16="http://schemas.microsoft.com/office/drawing/2014/main" id="{BFF60F96-488A-9DE8-4EB2-4DF1F213149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90822807"/>
              </p:ext>
            </p:extLst>
          </p:nvPr>
        </p:nvGraphicFramePr>
        <p:xfrm>
          <a:off x="669581" y="3872797"/>
          <a:ext cx="6093527" cy="26423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996C4C17-B170-D198-5EBD-27E8177F05D5}"/>
              </a:ext>
            </a:extLst>
          </p:cNvPr>
          <p:cNvSpPr txBox="1">
            <a:spLocks/>
          </p:cNvSpPr>
          <p:nvPr/>
        </p:nvSpPr>
        <p:spPr>
          <a:xfrm>
            <a:off x="2487265" y="347566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Структура по регионам</a:t>
            </a:r>
            <a:endParaRPr lang="ru-KZ" sz="1800" kern="0" dirty="0"/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EEC80D72-A1E3-95B9-0BF5-EE06C232BC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8810044"/>
              </p:ext>
            </p:extLst>
          </p:nvPr>
        </p:nvGraphicFramePr>
        <p:xfrm>
          <a:off x="1732967" y="3910013"/>
          <a:ext cx="271506" cy="22844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1506">
                  <a:extLst>
                    <a:ext uri="{9D8B030D-6E8A-4147-A177-3AD203B41FA5}">
                      <a16:colId xmlns:a16="http://schemas.microsoft.com/office/drawing/2014/main" val="2908613860"/>
                    </a:ext>
                  </a:extLst>
                </a:gridCol>
              </a:tblGrid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5196177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330526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586614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581041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867100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63201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30699540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773589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121514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8481655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720689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14901804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1188702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1429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4057531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251557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6616648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6468619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7806603"/>
                  </a:ext>
                </a:extLst>
              </a:tr>
              <a:tr h="114221">
                <a:tc>
                  <a:txBody>
                    <a:bodyPr/>
                    <a:lstStyle/>
                    <a:p>
                      <a:pPr algn="l" fontAlgn="b"/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(</a:t>
                      </a:r>
                      <a:r>
                        <a:rPr lang="ru-KZ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%</a:t>
                      </a:r>
                      <a:r>
                        <a:rPr lang="ru-RU" sz="600" b="0" i="0" u="none" strike="noStrike" cap="none" dirty="0">
                          <a:solidFill>
                            <a:schemeClr val="accent2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)</a:t>
                      </a:r>
                      <a:endParaRPr lang="ru-KZ" sz="600" b="0" i="0" u="none" strike="noStrike" cap="none" dirty="0">
                        <a:solidFill>
                          <a:schemeClr val="accent2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3411613"/>
                  </a:ext>
                </a:extLst>
              </a:tr>
            </a:tbl>
          </a:graphicData>
        </a:graphic>
      </p:graphicFrame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1898911-258B-D731-91FC-FB9F6269F54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1" name="Таблица 10">
            <a:extLst>
              <a:ext uri="{FF2B5EF4-FFF2-40B4-BE49-F238E27FC236}">
                <a16:creationId xmlns:a16="http://schemas.microsoft.com/office/drawing/2014/main" id="{06124258-DAFA-1F07-A6CC-AE359E78D8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7282017"/>
              </p:ext>
            </p:extLst>
          </p:nvPr>
        </p:nvGraphicFramePr>
        <p:xfrm>
          <a:off x="7312626" y="991713"/>
          <a:ext cx="4591829" cy="5547360"/>
        </p:xfrm>
        <a:graphic>
          <a:graphicData uri="http://schemas.openxmlformats.org/drawingml/2006/table">
            <a:tbl>
              <a:tblPr/>
              <a:tblGrid>
                <a:gridCol w="3447449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61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598280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 % к итогу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редний медицинский персонал по уходу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 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овара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1 055</a:t>
                      </a:r>
                      <a:endParaRPr lang="ru-KZ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0965340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антехники и трубопроводч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 2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лесари промышленного оборудовани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 4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бойлеров и паровых машин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9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3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азорезч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5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троители-монтажники и рабочие родственных занят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 4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 автобусов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по выработке электроэнерги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 5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ракторист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8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веи и реставраторы одежды и ткан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74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 грузового автомобил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5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омонтеры и ремонтники по высоковольтным ЛЭП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4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омонтеры (общий профиль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 2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-электрики (общий профиль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9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 в области химических и физических наук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 2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абочие по техническому обслуживанию зданий и сооружен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8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очие автослесари и автомехан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7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4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Электрики и электромонтажники (кроме ЛЭП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3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льдшер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 2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2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рановщ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9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еханики и монтеры электротехнического производства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9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зготовители металлоконструкций (токари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92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 и рабочие по разведению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84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1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варщ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8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,0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землеройной и траншейной машины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5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автопогрузчиков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3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лотн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нефте-, газоочистных и перерабатывающих установок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29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9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Лесоводы и рабочие родственных занят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2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альцовщ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2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 микроавтобусов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1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онтажники и сборщики металлоконструкц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1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ые фермеры и рабочие животноводства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0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8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ондитеры и изготовители кондитерских издел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 0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очие операторы стационарного оборудовани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9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редний медицинский персонал по акушерству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9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абочие в области транспорта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8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-механики (общий профиль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8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7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ой средний медицинский персонал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6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екари (общий профиль)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6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етоноотделочники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 и шлифовальщик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6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ляры и декораторы фасадов зданий и сооружени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5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6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Машинисты локомотивов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4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ригадиры по металлообработке и обслуживанию оборудования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4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станка для покрытия проводов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3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 по компьютерному аппаратному обеспечению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3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борщики автомобилей и отдельных частей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30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 по переработке и производству химической продукции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2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 и рабочие по </a:t>
                      </a:r>
                      <a:r>
                        <a:rPr lang="ru-RU" sz="700" b="0" i="0" u="none" strike="noStrike" cap="none" dirty="0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оярству</a:t>
                      </a:r>
                      <a:endParaRPr lang="ru-RU" sz="700" b="0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 2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,5%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того по топ-50</a:t>
                      </a:r>
                    </a:p>
                  </a:txBody>
                  <a:tcPr marL="9525" marR="952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02 652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ctr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5,2%</a:t>
                      </a:r>
                      <a:endParaRPr lang="ru-KZ" sz="700" b="1" i="0" u="none" strike="noStrike" cap="non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62365988"/>
                  </a:ext>
                </a:extLst>
              </a:tr>
            </a:tbl>
          </a:graphicData>
        </a:graphic>
      </p:graphicFrame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672BD835-6141-53E4-89F8-AC3561FE3776}"/>
              </a:ext>
            </a:extLst>
          </p:cNvPr>
          <p:cNvCxnSpPr>
            <a:cxnSpLocks/>
          </p:cNvCxnSpPr>
          <p:nvPr/>
        </p:nvCxnSpPr>
        <p:spPr>
          <a:xfrm flipV="1">
            <a:off x="7036279" y="750498"/>
            <a:ext cx="0" cy="5669757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237146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724581A-0923-1DEE-7BF7-98C63D6833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468105D8-A8C7-50CF-98FA-19CA26A93323}"/>
              </a:ext>
            </a:extLst>
          </p:cNvPr>
          <p:cNvSpPr txBox="1">
            <a:spLocks/>
          </p:cNvSpPr>
          <p:nvPr/>
        </p:nvSpPr>
        <p:spPr>
          <a:xfrm>
            <a:off x="72000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ПРИЛОЖЕНИЕ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I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kern="0" dirty="0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трасли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0085435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5A7A7F-C159-D131-9074-BC4DEB3317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36DEA79-C8F3-D4E9-8A8D-DDED1D4A5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льское хозяйство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B5E4A66-DC19-8BC2-C4D2-EEC5E9EEFD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A6899C82-D530-3104-11EC-78CF99FA507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F969C2E-D4A4-3AA7-DE89-D304A9B476D4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90DE749-D130-3140-6841-814DB505E59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D5D4219-7FE2-1BB5-EF3A-2E2165C4680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C84E817-A8E5-5B7F-FCB1-813ED3A268B1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DBA1D4D-8B2F-CD23-598C-78D7AECFCF4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0EB2D00-84CC-2EDF-EC6A-258590DD79E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25B1DA9-7913-E062-0FFB-B4C9A9D5F9D3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50D904C-0B07-0CEF-0880-374EB456025B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7C4AEF2E-523B-64DC-553E-913042F28149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B309DE73-E2B6-CF54-8565-D5547FA33FB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848E12E4-E14D-CC9C-353B-55D6CC30A6BE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702F3C53-9732-82D0-EF51-A58A182FC3C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DC1B9998-62E4-A978-768B-872497A538A1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FFB0B898-C4A3-6771-B3F7-7089CFAA236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DB50618F-7BEE-35D9-E5A6-6E73EDF562BE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29E3C05-63B8-073F-D6F0-ED29F6DA395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7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6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7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 и рабочие по разведе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в растение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8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ые фермеры и рабочие животновод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в животно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 и рабочие по доярств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 </a:t>
                      </a: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0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женеры по механизации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9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6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5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Агроном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 и рабочие по выращиванию овощ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 и рабочие по выращиванию полевых культур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зготовители мясных и рыбных продуктов пит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 моторизированного оборудования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Лесоводы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вар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умигаторщики и рабочие по борьбе с вредителями и сорняка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 комбайнов и аналогичного убороч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Грум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2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тицеводы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уководители лесохозяйственны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Швеи и реставраторы одежды и ткан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уководители сельскохозяйственны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Техники в сельском хозяй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marR="0" algn="l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R="0" algn="ctr" rtl="0" eaLnBrk="1" fontAlgn="b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Arial"/>
                        </a:rPr>
                        <a:t>1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818887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06B331-ED26-0229-5281-A04A0C628F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899BC1-1457-A128-CF38-7340837DBE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ельское хозяйство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D87E0A7-8751-DE71-9360-3770C3CB04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2B615AE-EB0B-BC72-1A38-D2080D34C52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A9474329-C4C5-4792-382C-CCC99E0B73D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EA3FAD0-25DC-6F40-92AC-A94B2AA5C399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267DCEC-5238-0A77-CC00-1E39FBA1687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1D63E4C-DCE4-1BEB-C4FE-A235B4008E70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18D9D61-6549-B01D-85B4-CE49E9380AF5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06F9DF01-540A-05C0-578F-61E4718A9FF8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разведе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животновод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ярству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механизации сельского хозяй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выращиванию полевых культур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умигаторщики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и рабочие по борьбе с вредителями и сорняка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ясных и рыбных продуктов пит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лесохозяйственны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по выращиванию овощ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роном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комбайнов и аналогичного убороч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моторизированного оборудования сельского хозяй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тицеводы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звозчики и водители машин на тягловой сил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м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сельскохозяйственны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сельском хозяй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транспорта и в связ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6251B54-170D-3793-18D5-517261F2D0A1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 0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464210C-8E1B-8B08-2AE2-FE58D5C9799B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173FAA39-ECF8-1423-524A-0DE17FCA327B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C4662D71-9EB2-85DF-9260-94912B8D3CD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CA6F8190-F396-0AAA-4BDC-866575A1C0A2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0522D62F-9B04-B389-7B89-5CD212BDC87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64847A1F-2D9A-997A-0FDF-5C6D285D742C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9862C989-F86B-285C-0474-CC9CEB4C5059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A2B18525-C90B-FC47-1F08-8B09276E98E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217032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4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23041CB-F86C-3662-A7BD-E125874F4A81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D761B8D-FFFD-7308-6E4B-D8434F93DFF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82B0CFBA-FD66-4CFB-12EB-2445273D2B68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7D814CB-7080-498A-591E-A8D353538ABD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4C32A3A-F540-128D-C723-ED81EE6AA39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2573496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27425A-2446-F500-661C-16424AD734E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558798-BE0B-57AA-F337-E69B7E1260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орнодобывающая промышленно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9E30F11-8087-D13D-209C-F44FCF4F44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111553E-988C-9DB6-0D61-EB9ECCFA4AF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DA9B8D2-2C8F-8937-41C1-5C2FEA1E6677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9590077-BEA3-EB61-C0E9-E3E59B6EEEA7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00A5279-426F-A165-13D7-47B038E8E82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7B319E3-2465-B2CA-BF93-FC6DDE24F2B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FBD6674-550D-8F6D-6494-301BE0D2FB8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01F8A73-94D0-AEAA-C07C-AE512A601992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8C33BD5-5BA0-9990-2C91-C76931286F3B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8C18E954-3202-AA90-F1D0-CF63504ED0CC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91D836F0-3439-741F-FD50-807E3C08CC19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7E855EA2-E0AC-4673-B09B-6A4E6EF02CF6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2958823B-18DB-55D7-4355-A00CA5721FEC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518D4597-0C40-EAB7-58C5-009E1C4C1800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F541887B-4F05-8BA8-CC46-EB75D34376B6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85701A9E-6E1F-2ACC-32DF-A6E047E1B1C0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55A222DF-E3BB-0ED9-2830-925A06B7C8C1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B703C365-1E8A-3411-9E6B-326743C94A8E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45174154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орабочие и шахтеры подземных выработо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риль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орабочие выработок открытым способо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геологических и добывающи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большегрузн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ы локомотив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рабочие промышленности, строительства, транспорт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асосных установо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автопогрузчи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в области транспорт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дземных горн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аземных горн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ульдозе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обработке и обогащению руд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капитальному ремонту скваж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менталь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изготовители и монтажники металлоконструкц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 над операторами стационар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обрабатывающи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обработке и обогащению горных пород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на произ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67339582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C64CF87-CFE4-558B-DA0B-0E7A85D9C3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4A252FA-EE51-58A1-52DC-158A2AAE4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орнодобывающая промышленно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5E55980-49A1-FB32-5B3B-FC305760BF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ACB513F-D78B-6996-743A-5ACEAD50D70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89AFD14-6012-1775-BF90-3CAB1446C9C9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58C3324-ED45-1F93-6A03-FBA784F1744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7E57EF7-E446-9A73-1D95-E466A723128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7FF5E52-C104-DB56-B141-2D8E1C9CC3C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128244B-15F9-DCAA-52AF-8E34DB5FEC49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740CFDE4-8BC0-33F2-B7D0-31A4196D429A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и шахтеры подземных выработо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орнорабочие выработок открытым способо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большегрузн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земных горн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геологических и добывающи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капитальному ремонту скваж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рабочие промышленности, строительства, транспорт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обработке и обогащению руд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дземных горн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ульдозе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на производ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обработке и обогащению горных пород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 над операторами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ые изготовители и монтажники металлоконструкц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мента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94BC7CD-8C1A-6880-8C96-991EE8C36D1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4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8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47F34E04-247D-6101-6B07-9A5D7FF9D69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B7068FF7-6617-73F6-C1A9-0C0FC5AAD21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E8A35341-A198-FB11-6139-C45C283BDAA6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0E250BB0-4526-606C-D4F0-77DEC3040494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E75E15E-5DA7-17DA-D19E-32E30C0C3232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5B7A7834-53CE-91FF-AD07-58560D72355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0AF3773E-892E-1A08-C3EF-BA4102666B9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E58088E-07B4-F859-553B-9A5EFDAC0F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395903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5C806A43-B0BC-705B-B9C6-8836EBCCBFD3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F802591-A143-30FC-B690-7EC003BFE6B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F986C84-2DA1-16D8-7ADB-EA1326732A29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36CC9D0C-B883-CD34-AA93-9BDC7018D383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036454A-5366-643B-44C9-5B7F42040FDF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135726529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E2CAE8C-6CF2-A09F-0500-F75C40D96D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8F6A0BA-4C71-557E-3857-CE5680F16C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батывающая промышленно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A5DA300-8CBE-9BBC-A970-6592FF97D2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FFE3C04-C6B7-97EE-9747-930C7DFA306D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B08C7C0-3881-E32A-E7A4-D2F9D1ECAE39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80875D9-4002-C541-6733-932116563BB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F155318-8393-03BC-A5D0-54630ADB7EB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9DBECBAC-8042-1383-DB2F-CA6C1FA66CA4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C3B5A1F-03D5-91F5-6A78-ECF328833D0F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99BE023-87E7-E3B4-2710-2335B44C87B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736F814-36F8-D851-3E5B-D4382E7BA88B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52197B3-C8F6-FF62-0BFC-38872721CD73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A9512D32-BF7C-1004-EDAF-F2208C9590E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82A2E54-BD3C-AE50-223A-3DF86906032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14779D79-C40C-09AB-263C-2F673BB01C70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7C454BFA-9F9C-61C8-77F3-E82A562B48AE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BF868D98-EC28-4F3D-392D-345180BF592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8C7C3902-C445-2AA7-D6A2-86E92D51AA8D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402D67FC-ED13-2C29-BE92-B970EA939831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DE8D2A9F-A267-8B65-0225-A4E2984AA8A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748114848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70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паковщики вручную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станка для покрытия провод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борщики автомобилей и отдельных част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литьевых машин для цветных металл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на производств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промышленных и строительных материал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плавлению, литью металла и прокатного стан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вар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борщики мебели и прочие сбор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рудообжигательной и металообжигательной печ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ромышленных робо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кар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обрабатывающих подраздел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и ремонтники подвижного состав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менталь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изготовлению асбестоцементных издел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737704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586DF2-5B29-5F7E-CBC1-1056EAFEB9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BE4257-73AF-DF77-A2D9-5DCCC8543D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батывающая промышленность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F19958A4-353A-7F6C-5A0F-587AD7130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18693C3-D3A3-A2BD-CE50-E02CFD6A53ED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F5C780B-E59D-B578-CEA5-347BC4C62D9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2D7D29D7-E951-A8E1-5DC5-62D2503E6FC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C3B8F7E-7CC4-F8EF-36BF-B77C1A439EB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F85CC5A-FB92-A0C2-B5DE-CE53A66785B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BEE3A0AE-C1E2-BFA2-6B0A-CE9447F0281C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AF51061-05DC-0776-50B7-99B3AD918A77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литьевых машин для цветных металл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станка для покрытия провод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паковщики вручну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автомобилей и отдельных част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промышленных и строительных материал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лавлению, литью металла и прокатного стан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удообжигательно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и </a:t>
                      </a:r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талообжигательной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печ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изготовлению асбестоцементных издел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на производ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и ремонтники подвижного соста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рабочие промышленности, строительства, транспорт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мента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омышленных робо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мебели и прочие сбо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0575977-9527-E559-23AF-5724C7E32202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 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8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6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6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6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 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4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5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6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18F66A5-B44A-21AE-79D6-5F0147471D7A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80555B5-A78D-EC5D-9CB4-566AA6A9481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9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543BAEAD-E38F-3C15-EEB5-56500AF4157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34E1B74-413C-561D-F4FC-D3741E0A012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C23142FD-613D-0CB4-F8C7-D74933D14DCD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8CFE76C2-B902-D179-FF1D-B4602068E31A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B104A2F4-58CE-3182-D7A5-D9710559E4E0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7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9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4382271F-FEE0-66E3-9288-0496B60F4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174396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DD1942AA-8799-AC87-4208-44304D37998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22FA1B0F-594B-3D22-506B-512FA9B4DC9C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0AE43E0-9B90-BD02-6C1E-229A9948925E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EE6CF0A-6E8C-1CA9-C1D2-84E007553D38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DC0BEDBA-1EB3-28B8-03A3-0227B0FD395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79505323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0F951-9C9A-136A-1106-A71E4E17CB8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1AB8E1A-C421-E437-C4C7-BEB5DB06B4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лектро- и энергоснабжение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31895EA-3F24-5947-A333-8A95FC119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83CDAE7-DEA3-7E51-6DB4-D8125C1AFF2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0DC3533-69E7-4EA7-778A-A532098E29A2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0A743ED-84A6-D2AE-3709-60E827550D1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8451A8AD-1451-8B62-2134-F2EBA08C4709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27D61F5-9461-F56A-7195-D361F0FB6FAA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D1E35E5-9A41-EB39-CA7A-694ACA17114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E082988-38E3-87D3-9238-7E62BADD541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3B939D3C-F0A4-7F73-7356-221141921308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B9ED54EC-7E73-B7F9-E331-9F85534A0D81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A451CE30-BFCA-C36C-2A2E-4EE3C0F2B00A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6A0F651F-0609-2EAA-AA93-7A9890EB6CA5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2B675867-4F55-A790-1405-397285D0B1A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3E972BFC-E16D-459B-6BCB-64ED85515505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C54585AE-B9F5-9B01-2695-FB193338E7C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FDCE7DBA-4D5D-C797-E9D1-D9C4A8233DE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7F15D002-71B8-83F4-ADE3-AEB61908F17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0E584B9-D349-D0E2-E475-BC20FEE34902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24531263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водо-, электро- и энергоснабжающи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энерге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тролеры счетчиков (учетчики показаний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ы над рабочими по электрике и электроник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высоковольтным ЛЭП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менталь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асосных установо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вар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нерге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инженеры-электр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смет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плотех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автопогрузчи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борщики электропроводки и электропроводных прибо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инженеры-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олир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6872822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9D0903-351D-87F5-41B4-5B69415B43E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5A01B6-BEE0-C8B2-D3F4-661B846498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лектро- и энергоснабжение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A604746-C18B-F78E-FBCA-FEFC8FA491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A5E843A-2F04-78AB-F223-22B4653C50BB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FCDCB45-F293-DB9B-B429-DF2D897D120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003F89D-7ED8-22C5-8EA9-BFC1C85A10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59A0990-423D-EBBE-3C64-C12659148A93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A67CBAD-1B2C-45EC-B686-A0EF69094EF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50641EE-33BF-2022-71ED-AD8F59A91BCA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27FEA089-4B9F-41B2-F2E5-ECE05B3FC195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водо-, электро- и энергоснабжающи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энерге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тролеры счетчиков (учетчики показаний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рабочими по электрике и электроник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высоковольтным ЛЭП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нерге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плотех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мента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телекоммуникаций (ИКТ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борщики электропроводки и электропроводных прибо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инженеры-электр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мет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инженеры-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вводу данны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425BD63-ECEF-C4B2-7D7B-89D08AAF7031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EA5ABC3-B487-7CB8-350B-5A420943B358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EFBFB80-ACA7-5FD3-8F32-B6BA95FDD02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2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6F2D144-FFF0-2BBF-9372-900DBFCB46C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C8C8D35-7EBD-6456-75FB-2B9D7F8FD8AF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AC247BC4-FD7D-C62F-AEE9-D8969B5DE4A8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2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458BF69-6F88-09C1-6088-1E9B1AE2B408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7002D683-EA82-1481-1D79-53331FAD1E5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CEB79AC6-121D-978C-34DB-0E830D2B18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3834729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EE9A339-DDB2-CC6D-9622-31B67ED8F49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1705715-17DC-D69A-D3A7-85E48C09452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BC24DB9E-B472-E6BF-58BF-387BBCA133A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BD36B4E-601B-B302-B568-E614C374A72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43875B7-FADB-CEC7-52F5-82DD320CDA31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482765321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0A4A5B-0EAA-6A63-5B4A-92583346FC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0F907B1-FEBD-A869-2089-36945A47B9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одоснабжение и удаление отходов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73A82BD-7E2E-5BA7-848C-33FCCEB8D5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5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7942021D-5D9D-11BA-BB67-9EDDA343AC6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81671A3-F6C6-D601-F289-16B7AF5F54EB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D512911-8A33-FA48-E40F-DB1B9E28EFA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ED937AD-4FC9-D87B-7D6B-AF90039ABD35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D85331E-495B-32FE-AA72-8D409BE6367C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C98C7AC-EFC8-D554-6FA5-FB18B44156C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4D01F73-CEF0-F29E-A769-B396F87D380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F7AA644-7CD3-04CF-71D1-CE901C9D8DA5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4220412E-B32E-3972-43FC-A32BEE6CBCE5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0A493983-F38C-9AC0-A8B1-54669F914C8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481F7DD-1A0C-EF26-94CF-A3D4B0829FA9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9B41749A-1828-7D66-67DD-AEC170F86792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BC8C479D-64FD-69AF-E099-F02C3591D74E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A4185BA7-74B3-ED70-B411-BC6875D4C373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D505E0D5-667B-6EAD-B7BA-1C188D179FAF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DA6ACB68-9B76-26D9-097E-5B0F63C0ACF3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E113FCB-058B-EAAC-CC69-EF1437326477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24531263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79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4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1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тролеры счетчиков (учетчики показаний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асосных установок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мусоровоз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водо-, электро- и энергоснабжающих подраздел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автопогрузчик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металлоконструкций (токари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строител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ментальщ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ульдозера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возчики и водители машин на тягловой силе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сметчики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поливальных машин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9525" marR="952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27740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BCCA8-620B-ABBA-6BA2-D9EE3D3131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Прямоугольник 44">
            <a:extLst>
              <a:ext uri="{FF2B5EF4-FFF2-40B4-BE49-F238E27FC236}">
                <a16:creationId xmlns:a16="http://schemas.microsoft.com/office/drawing/2014/main" id="{31152D85-138C-4771-7E58-1A56176B225E}"/>
              </a:ext>
            </a:extLst>
          </p:cNvPr>
          <p:cNvSpPr/>
          <p:nvPr/>
        </p:nvSpPr>
        <p:spPr>
          <a:xfrm>
            <a:off x="72000" y="796896"/>
            <a:ext cx="11975220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6" name="Прямоугольник: скругленные углы 15">
            <a:extLst>
              <a:ext uri="{FF2B5EF4-FFF2-40B4-BE49-F238E27FC236}">
                <a16:creationId xmlns:a16="http://schemas.microsoft.com/office/drawing/2014/main" id="{A37C5B07-AB51-C616-D7FD-6735F5304741}"/>
              </a:ext>
            </a:extLst>
          </p:cNvPr>
          <p:cNvSpPr/>
          <p:nvPr/>
        </p:nvSpPr>
        <p:spPr>
          <a:xfrm>
            <a:off x="4040818" y="1333332"/>
            <a:ext cx="1581666" cy="940925"/>
          </a:xfrm>
          <a:prstGeom prst="roundRect">
            <a:avLst/>
          </a:prstGeom>
          <a:solidFill>
            <a:srgbClr val="CCE5D4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5" name="Прямоугольник: скругленные углы 14">
            <a:extLst>
              <a:ext uri="{FF2B5EF4-FFF2-40B4-BE49-F238E27FC236}">
                <a16:creationId xmlns:a16="http://schemas.microsoft.com/office/drawing/2014/main" id="{62E1671E-DBE2-C679-6B26-B5C465FE0F3E}"/>
              </a:ext>
            </a:extLst>
          </p:cNvPr>
          <p:cNvSpPr/>
          <p:nvPr/>
        </p:nvSpPr>
        <p:spPr>
          <a:xfrm>
            <a:off x="2159369" y="1333332"/>
            <a:ext cx="1587484" cy="940925"/>
          </a:xfrm>
          <a:prstGeom prst="roundRect">
            <a:avLst/>
          </a:prstGeom>
          <a:solidFill>
            <a:srgbClr val="BED1E3"/>
          </a:solidFill>
          <a:ln>
            <a:solidFill>
              <a:srgbClr val="2868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F50C979-33F3-01C4-0768-AA6BA09F09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ынок труда в 2025 году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50C6DA3-EE94-9024-A5AC-601CC2C1CC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DAC9972-E264-2625-0A63-B729B1C0E2E6}"/>
              </a:ext>
            </a:extLst>
          </p:cNvPr>
          <p:cNvSpPr txBox="1">
            <a:spLocks/>
          </p:cNvSpPr>
          <p:nvPr/>
        </p:nvSpPr>
        <p:spPr>
          <a:xfrm>
            <a:off x="2165187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en-US" sz="2400" kern="0" dirty="0">
                <a:solidFill>
                  <a:srgbClr val="2868A3"/>
                </a:solidFill>
              </a:rPr>
              <a:t>1 155 </a:t>
            </a:r>
            <a:r>
              <a:rPr lang="ru-RU" sz="1600" kern="0" dirty="0">
                <a:solidFill>
                  <a:srgbClr val="2868A3"/>
                </a:solidFill>
              </a:rPr>
              <a:t>тыс.</a:t>
            </a:r>
            <a:endParaRPr lang="ru-KZ" sz="1600" kern="0" dirty="0">
              <a:solidFill>
                <a:srgbClr val="2868A3"/>
              </a:solidFill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D1A81FAD-0709-7C5E-C02A-9DB316413B8D}"/>
              </a:ext>
            </a:extLst>
          </p:cNvPr>
          <p:cNvSpPr txBox="1">
            <a:spLocks/>
          </p:cNvSpPr>
          <p:nvPr/>
        </p:nvSpPr>
        <p:spPr>
          <a:xfrm>
            <a:off x="71999" y="693881"/>
            <a:ext cx="755375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2000" kern="0" dirty="0"/>
              <a:t>Всего вакансий</a:t>
            </a:r>
            <a:endParaRPr lang="ru-KZ" sz="2000" kern="0" dirty="0"/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95D9379-F153-0550-4C59-C12721F8E326}"/>
              </a:ext>
            </a:extLst>
          </p:cNvPr>
          <p:cNvSpPr txBox="1">
            <a:spLocks/>
          </p:cNvSpPr>
          <p:nvPr/>
        </p:nvSpPr>
        <p:spPr>
          <a:xfrm>
            <a:off x="4040818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00B050"/>
                </a:solidFill>
              </a:rPr>
              <a:t>1 251 </a:t>
            </a:r>
            <a:r>
              <a:rPr lang="ru-RU" sz="1600" kern="0" dirty="0">
                <a:solidFill>
                  <a:srgbClr val="00B050"/>
                </a:solidFill>
              </a:rPr>
              <a:t>тыс.</a:t>
            </a:r>
            <a:endParaRPr lang="ru-KZ" sz="1600" kern="0" dirty="0">
              <a:solidFill>
                <a:srgbClr val="00B050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9B931B4C-CB7F-2435-8D63-BFB0FFA655C5}"/>
              </a:ext>
            </a:extLst>
          </p:cNvPr>
          <p:cNvSpPr txBox="1">
            <a:spLocks/>
          </p:cNvSpPr>
          <p:nvPr/>
        </p:nvSpPr>
        <p:spPr>
          <a:xfrm>
            <a:off x="4090820" y="1860023"/>
            <a:ext cx="148166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ACB60E5-BFD8-D9E9-573E-AA23FA077C9A}"/>
              </a:ext>
            </a:extLst>
          </p:cNvPr>
          <p:cNvSpPr txBox="1">
            <a:spLocks/>
          </p:cNvSpPr>
          <p:nvPr/>
        </p:nvSpPr>
        <p:spPr>
          <a:xfrm>
            <a:off x="2209737" y="186002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6BA58928-C8AF-C747-D9C9-E8E9F9F57F5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1246952"/>
              </p:ext>
            </p:extLst>
          </p:nvPr>
        </p:nvGraphicFramePr>
        <p:xfrm>
          <a:off x="8098131" y="826107"/>
          <a:ext cx="3724860" cy="1706880"/>
        </p:xfrm>
        <a:graphic>
          <a:graphicData uri="http://schemas.openxmlformats.org/drawingml/2006/table">
            <a:tbl>
              <a:tblPr/>
              <a:tblGrid>
                <a:gridCol w="212432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551568">
                  <a:extLst>
                    <a:ext uri="{9D8B030D-6E8A-4147-A177-3AD203B41FA5}">
                      <a16:colId xmlns:a16="http://schemas.microsoft.com/office/drawing/2014/main" val="328414049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2543349747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396353101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. Астана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5 674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2 17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6 7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4 9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г. Алмат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2 63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4 43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3 7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8 7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Турке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55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 671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0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 3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араганд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616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 04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1 4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0 5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тырау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658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 40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7 2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1 4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Костанай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5 176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4 068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9 8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 7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Жамбыл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 21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 93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 1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8 98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авлодар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3 627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7 02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5 60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 6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Восточно-Казах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979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0 570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9 1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4 9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лмат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 793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9 22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2 9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Западно-Казах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 394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65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4 63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1 6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ктюб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2 462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6 650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1 0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3 50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Акмол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729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0 30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7 3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5 7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23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Прочие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16 272</a:t>
                      </a:r>
                      <a:endParaRPr lang="ru-KZ" sz="700" b="0" i="0" u="none" strike="noStrike" cap="non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46 30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5 9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33 1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</a:tbl>
          </a:graphicData>
        </a:graphic>
      </p:graphicFrame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A71BF23C-D887-0BE4-9E4A-243AA0411F99}"/>
              </a:ext>
            </a:extLst>
          </p:cNvPr>
          <p:cNvSpPr/>
          <p:nvPr/>
        </p:nvSpPr>
        <p:spPr>
          <a:xfrm>
            <a:off x="5910716" y="1333332"/>
            <a:ext cx="1581666" cy="940925"/>
          </a:xfrm>
          <a:prstGeom prst="roundRect">
            <a:avLst/>
          </a:prstGeom>
          <a:solidFill>
            <a:srgbClr val="ECB2B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86439B5D-F478-60F6-54E6-7EF91FBFBCE3}"/>
              </a:ext>
            </a:extLst>
          </p:cNvPr>
          <p:cNvSpPr txBox="1">
            <a:spLocks/>
          </p:cNvSpPr>
          <p:nvPr/>
        </p:nvSpPr>
        <p:spPr>
          <a:xfrm>
            <a:off x="5910716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C00000"/>
                </a:solidFill>
              </a:rPr>
              <a:t>1 093 </a:t>
            </a:r>
            <a:r>
              <a:rPr lang="ru-RU" sz="1600" kern="0" dirty="0">
                <a:solidFill>
                  <a:srgbClr val="C00000"/>
                </a:solidFill>
              </a:rPr>
              <a:t>тыс.</a:t>
            </a:r>
            <a:endParaRPr lang="ru-KZ" sz="1600" kern="0" dirty="0">
              <a:solidFill>
                <a:srgbClr val="C00000"/>
              </a:solidFill>
            </a:endParaRPr>
          </a:p>
        </p:txBody>
      </p:sp>
      <p:sp>
        <p:nvSpPr>
          <p:cNvPr id="20" name="Заголовок 1">
            <a:extLst>
              <a:ext uri="{FF2B5EF4-FFF2-40B4-BE49-F238E27FC236}">
                <a16:creationId xmlns:a16="http://schemas.microsoft.com/office/drawing/2014/main" id="{7A5E5786-CA6B-44CB-F719-42C30E1E0CF2}"/>
              </a:ext>
            </a:extLst>
          </p:cNvPr>
          <p:cNvSpPr txBox="1">
            <a:spLocks/>
          </p:cNvSpPr>
          <p:nvPr/>
        </p:nvSpPr>
        <p:spPr>
          <a:xfrm>
            <a:off x="5961733" y="1860023"/>
            <a:ext cx="1511718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FBC65B94-E8C8-E613-D817-8D638F565E0A}"/>
              </a:ext>
            </a:extLst>
          </p:cNvPr>
          <p:cNvSpPr/>
          <p:nvPr/>
        </p:nvSpPr>
        <p:spPr>
          <a:xfrm>
            <a:off x="72000" y="2702670"/>
            <a:ext cx="11975220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47" name="Прямоугольник: скругленные углы 46">
            <a:extLst>
              <a:ext uri="{FF2B5EF4-FFF2-40B4-BE49-F238E27FC236}">
                <a16:creationId xmlns:a16="http://schemas.microsoft.com/office/drawing/2014/main" id="{8B9B5FB5-A988-68C2-AB2D-48BF87F9DA9A}"/>
              </a:ext>
            </a:extLst>
          </p:cNvPr>
          <p:cNvSpPr/>
          <p:nvPr/>
        </p:nvSpPr>
        <p:spPr>
          <a:xfrm>
            <a:off x="4040818" y="3372492"/>
            <a:ext cx="1581666" cy="940925"/>
          </a:xfrm>
          <a:prstGeom prst="roundRect">
            <a:avLst/>
          </a:prstGeom>
          <a:solidFill>
            <a:srgbClr val="CCE5D4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48" name="Прямоугольник: скругленные углы 47">
            <a:extLst>
              <a:ext uri="{FF2B5EF4-FFF2-40B4-BE49-F238E27FC236}">
                <a16:creationId xmlns:a16="http://schemas.microsoft.com/office/drawing/2014/main" id="{CB3D2373-EC85-3AF4-22F2-75F766A42BA3}"/>
              </a:ext>
            </a:extLst>
          </p:cNvPr>
          <p:cNvSpPr/>
          <p:nvPr/>
        </p:nvSpPr>
        <p:spPr>
          <a:xfrm>
            <a:off x="2159369" y="3372492"/>
            <a:ext cx="1587484" cy="940925"/>
          </a:xfrm>
          <a:prstGeom prst="roundRect">
            <a:avLst/>
          </a:prstGeom>
          <a:solidFill>
            <a:srgbClr val="BED1E3"/>
          </a:solidFill>
          <a:ln>
            <a:solidFill>
              <a:srgbClr val="2868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171DB29F-F7DB-9E0C-73C6-158BE7851E0C}"/>
              </a:ext>
            </a:extLst>
          </p:cNvPr>
          <p:cNvSpPr txBox="1">
            <a:spLocks/>
          </p:cNvSpPr>
          <p:nvPr/>
        </p:nvSpPr>
        <p:spPr>
          <a:xfrm>
            <a:off x="2165187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2868A3"/>
                </a:solidFill>
              </a:rPr>
              <a:t>819 </a:t>
            </a:r>
            <a:r>
              <a:rPr lang="ru-RU" sz="1600" kern="0" dirty="0">
                <a:solidFill>
                  <a:srgbClr val="2868A3"/>
                </a:solidFill>
              </a:rPr>
              <a:t>тыс.</a:t>
            </a:r>
            <a:endParaRPr lang="ru-KZ" sz="1600" kern="0" dirty="0">
              <a:solidFill>
                <a:srgbClr val="2868A3"/>
              </a:solidFill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F74F3F9-D243-A811-45E0-4D361108F401}"/>
              </a:ext>
            </a:extLst>
          </p:cNvPr>
          <p:cNvSpPr txBox="1">
            <a:spLocks/>
          </p:cNvSpPr>
          <p:nvPr/>
        </p:nvSpPr>
        <p:spPr>
          <a:xfrm>
            <a:off x="72000" y="2656841"/>
            <a:ext cx="755375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Вакансий для квалифицированных работников</a:t>
            </a:r>
            <a:endParaRPr lang="ru-KZ" sz="1800" kern="0" dirty="0"/>
          </a:p>
        </p:txBody>
      </p:sp>
      <p:sp>
        <p:nvSpPr>
          <p:cNvPr id="71" name="Заголовок 1">
            <a:extLst>
              <a:ext uri="{FF2B5EF4-FFF2-40B4-BE49-F238E27FC236}">
                <a16:creationId xmlns:a16="http://schemas.microsoft.com/office/drawing/2014/main" id="{0F47526D-66B7-1FF0-A40B-B8812084D5C2}"/>
              </a:ext>
            </a:extLst>
          </p:cNvPr>
          <p:cNvSpPr txBox="1">
            <a:spLocks/>
          </p:cNvSpPr>
          <p:nvPr/>
        </p:nvSpPr>
        <p:spPr>
          <a:xfrm>
            <a:off x="4040818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00B050"/>
                </a:solidFill>
              </a:rPr>
              <a:t>999 </a:t>
            </a:r>
            <a:r>
              <a:rPr lang="ru-RU" sz="1600" kern="0" dirty="0">
                <a:solidFill>
                  <a:srgbClr val="00B050"/>
                </a:solidFill>
              </a:rPr>
              <a:t>тыс.</a:t>
            </a:r>
            <a:endParaRPr lang="ru-KZ" sz="1600" kern="0" dirty="0">
              <a:solidFill>
                <a:srgbClr val="00B050"/>
              </a:solidFill>
            </a:endParaRPr>
          </a:p>
        </p:txBody>
      </p:sp>
      <p:sp>
        <p:nvSpPr>
          <p:cNvPr id="72" name="Заголовок 1">
            <a:extLst>
              <a:ext uri="{FF2B5EF4-FFF2-40B4-BE49-F238E27FC236}">
                <a16:creationId xmlns:a16="http://schemas.microsoft.com/office/drawing/2014/main" id="{7A3B35F2-8F87-5C1E-BA6D-F241CB5459F4}"/>
              </a:ext>
            </a:extLst>
          </p:cNvPr>
          <p:cNvSpPr txBox="1">
            <a:spLocks/>
          </p:cNvSpPr>
          <p:nvPr/>
        </p:nvSpPr>
        <p:spPr>
          <a:xfrm>
            <a:off x="4090820" y="3899183"/>
            <a:ext cx="148166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73" name="Заголовок 1">
            <a:extLst>
              <a:ext uri="{FF2B5EF4-FFF2-40B4-BE49-F238E27FC236}">
                <a16:creationId xmlns:a16="http://schemas.microsoft.com/office/drawing/2014/main" id="{B096C022-EEDD-2107-0F4A-B8C0EA1576A5}"/>
              </a:ext>
            </a:extLst>
          </p:cNvPr>
          <p:cNvSpPr txBox="1">
            <a:spLocks/>
          </p:cNvSpPr>
          <p:nvPr/>
        </p:nvSpPr>
        <p:spPr>
          <a:xfrm>
            <a:off x="2209737" y="389918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74" name="Прямоугольник: скругленные углы 73">
            <a:extLst>
              <a:ext uri="{FF2B5EF4-FFF2-40B4-BE49-F238E27FC236}">
                <a16:creationId xmlns:a16="http://schemas.microsoft.com/office/drawing/2014/main" id="{27DED0D9-0A2C-F0C8-5805-2FD62FAFC9E8}"/>
              </a:ext>
            </a:extLst>
          </p:cNvPr>
          <p:cNvSpPr/>
          <p:nvPr/>
        </p:nvSpPr>
        <p:spPr>
          <a:xfrm>
            <a:off x="5910716" y="3372492"/>
            <a:ext cx="1581666" cy="940925"/>
          </a:xfrm>
          <a:prstGeom prst="roundRect">
            <a:avLst/>
          </a:prstGeom>
          <a:solidFill>
            <a:srgbClr val="ECB2B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75" name="Заголовок 1">
            <a:extLst>
              <a:ext uri="{FF2B5EF4-FFF2-40B4-BE49-F238E27FC236}">
                <a16:creationId xmlns:a16="http://schemas.microsoft.com/office/drawing/2014/main" id="{7BF034C7-CC05-B9C8-1C9F-51B15EDE701B}"/>
              </a:ext>
            </a:extLst>
          </p:cNvPr>
          <p:cNvSpPr txBox="1">
            <a:spLocks/>
          </p:cNvSpPr>
          <p:nvPr/>
        </p:nvSpPr>
        <p:spPr>
          <a:xfrm>
            <a:off x="5910716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C00000"/>
                </a:solidFill>
              </a:rPr>
              <a:t>707 </a:t>
            </a:r>
            <a:r>
              <a:rPr lang="ru-RU" sz="1600" kern="0" dirty="0">
                <a:solidFill>
                  <a:srgbClr val="C00000"/>
                </a:solidFill>
              </a:rPr>
              <a:t>тыс.</a:t>
            </a:r>
            <a:endParaRPr lang="ru-KZ" sz="1600" kern="0" dirty="0">
              <a:solidFill>
                <a:srgbClr val="C00000"/>
              </a:solidFill>
            </a:endParaRPr>
          </a:p>
        </p:txBody>
      </p:sp>
      <p:sp>
        <p:nvSpPr>
          <p:cNvPr id="76" name="Заголовок 1">
            <a:extLst>
              <a:ext uri="{FF2B5EF4-FFF2-40B4-BE49-F238E27FC236}">
                <a16:creationId xmlns:a16="http://schemas.microsoft.com/office/drawing/2014/main" id="{4FCDE3DC-D5EF-A722-0D6E-B4D9CA5DA741}"/>
              </a:ext>
            </a:extLst>
          </p:cNvPr>
          <p:cNvSpPr txBox="1">
            <a:spLocks/>
          </p:cNvSpPr>
          <p:nvPr/>
        </p:nvSpPr>
        <p:spPr>
          <a:xfrm>
            <a:off x="5961733" y="3899183"/>
            <a:ext cx="1511718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88" name="Прямоугольник 87">
            <a:extLst>
              <a:ext uri="{FF2B5EF4-FFF2-40B4-BE49-F238E27FC236}">
                <a16:creationId xmlns:a16="http://schemas.microsoft.com/office/drawing/2014/main" id="{575E4388-9AFB-F218-3B11-15269C2867A1}"/>
              </a:ext>
            </a:extLst>
          </p:cNvPr>
          <p:cNvSpPr/>
          <p:nvPr/>
        </p:nvSpPr>
        <p:spPr>
          <a:xfrm>
            <a:off x="72000" y="4608444"/>
            <a:ext cx="11975220" cy="1764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0A112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89" name="Прямоугольник: скругленные углы 88">
            <a:extLst>
              <a:ext uri="{FF2B5EF4-FFF2-40B4-BE49-F238E27FC236}">
                <a16:creationId xmlns:a16="http://schemas.microsoft.com/office/drawing/2014/main" id="{09E267E8-5C3D-DAF3-FC7B-8A3027D16686}"/>
              </a:ext>
            </a:extLst>
          </p:cNvPr>
          <p:cNvSpPr/>
          <p:nvPr/>
        </p:nvSpPr>
        <p:spPr>
          <a:xfrm>
            <a:off x="4040818" y="5221423"/>
            <a:ext cx="1581666" cy="940925"/>
          </a:xfrm>
          <a:prstGeom prst="roundRect">
            <a:avLst/>
          </a:prstGeom>
          <a:solidFill>
            <a:srgbClr val="CCE5D4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0" name="Прямоугольник: скругленные углы 89">
            <a:extLst>
              <a:ext uri="{FF2B5EF4-FFF2-40B4-BE49-F238E27FC236}">
                <a16:creationId xmlns:a16="http://schemas.microsoft.com/office/drawing/2014/main" id="{29F76C55-B3A1-6EBC-3AF9-195F2CC4D6C8}"/>
              </a:ext>
            </a:extLst>
          </p:cNvPr>
          <p:cNvSpPr/>
          <p:nvPr/>
        </p:nvSpPr>
        <p:spPr>
          <a:xfrm>
            <a:off x="2159369" y="5221423"/>
            <a:ext cx="1587484" cy="940925"/>
          </a:xfrm>
          <a:prstGeom prst="roundRect">
            <a:avLst/>
          </a:prstGeom>
          <a:solidFill>
            <a:srgbClr val="BED1E3"/>
          </a:solidFill>
          <a:ln>
            <a:solidFill>
              <a:srgbClr val="2868A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1" name="Заголовок 1">
            <a:extLst>
              <a:ext uri="{FF2B5EF4-FFF2-40B4-BE49-F238E27FC236}">
                <a16:creationId xmlns:a16="http://schemas.microsoft.com/office/drawing/2014/main" id="{BFB1AA90-CAD5-9846-890B-EE3886E4C939}"/>
              </a:ext>
            </a:extLst>
          </p:cNvPr>
          <p:cNvSpPr txBox="1">
            <a:spLocks/>
          </p:cNvSpPr>
          <p:nvPr/>
        </p:nvSpPr>
        <p:spPr>
          <a:xfrm>
            <a:off x="2165187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2868A3"/>
                </a:solidFill>
              </a:rPr>
              <a:t>294 </a:t>
            </a:r>
            <a:r>
              <a:rPr lang="ru-RU" sz="1600" kern="0" dirty="0">
                <a:solidFill>
                  <a:srgbClr val="2868A3"/>
                </a:solidFill>
              </a:rPr>
              <a:t>тыс.</a:t>
            </a:r>
            <a:endParaRPr lang="ru-KZ" sz="1600" kern="0" dirty="0">
              <a:solidFill>
                <a:srgbClr val="2868A3"/>
              </a:solidFill>
            </a:endParaRPr>
          </a:p>
        </p:txBody>
      </p:sp>
      <p:sp>
        <p:nvSpPr>
          <p:cNvPr id="92" name="Заголовок 1">
            <a:extLst>
              <a:ext uri="{FF2B5EF4-FFF2-40B4-BE49-F238E27FC236}">
                <a16:creationId xmlns:a16="http://schemas.microsoft.com/office/drawing/2014/main" id="{9375B240-3C85-0E87-DB5A-16AB67A849D2}"/>
              </a:ext>
            </a:extLst>
          </p:cNvPr>
          <p:cNvSpPr txBox="1">
            <a:spLocks/>
          </p:cNvSpPr>
          <p:nvPr/>
        </p:nvSpPr>
        <p:spPr>
          <a:xfrm>
            <a:off x="72000" y="4581972"/>
            <a:ext cx="7553750" cy="661660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800" kern="0" dirty="0"/>
              <a:t>Вакансий для работников рабочих профессий</a:t>
            </a:r>
            <a:endParaRPr lang="ru-KZ" sz="1800" kern="0" dirty="0"/>
          </a:p>
        </p:txBody>
      </p:sp>
      <p:sp>
        <p:nvSpPr>
          <p:cNvPr id="93" name="Заголовок 1">
            <a:extLst>
              <a:ext uri="{FF2B5EF4-FFF2-40B4-BE49-F238E27FC236}">
                <a16:creationId xmlns:a16="http://schemas.microsoft.com/office/drawing/2014/main" id="{0F97ADCC-5244-7B3E-FDB3-722E4C7CCCDB}"/>
              </a:ext>
            </a:extLst>
          </p:cNvPr>
          <p:cNvSpPr txBox="1">
            <a:spLocks/>
          </p:cNvSpPr>
          <p:nvPr/>
        </p:nvSpPr>
        <p:spPr>
          <a:xfrm>
            <a:off x="4040818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00B050"/>
                </a:solidFill>
              </a:rPr>
              <a:t>350 </a:t>
            </a:r>
            <a:r>
              <a:rPr lang="ru-RU" sz="1600" kern="0" dirty="0">
                <a:solidFill>
                  <a:srgbClr val="00B050"/>
                </a:solidFill>
              </a:rPr>
              <a:t>тыс.</a:t>
            </a:r>
            <a:endParaRPr lang="ru-KZ" sz="1600" kern="0" dirty="0">
              <a:solidFill>
                <a:srgbClr val="00B050"/>
              </a:solidFill>
            </a:endParaRPr>
          </a:p>
        </p:txBody>
      </p:sp>
      <p:sp>
        <p:nvSpPr>
          <p:cNvPr id="94" name="Заголовок 1">
            <a:extLst>
              <a:ext uri="{FF2B5EF4-FFF2-40B4-BE49-F238E27FC236}">
                <a16:creationId xmlns:a16="http://schemas.microsoft.com/office/drawing/2014/main" id="{FB597F55-E791-377C-27F0-BBFCCD34891B}"/>
              </a:ext>
            </a:extLst>
          </p:cNvPr>
          <p:cNvSpPr txBox="1">
            <a:spLocks/>
          </p:cNvSpPr>
          <p:nvPr/>
        </p:nvSpPr>
        <p:spPr>
          <a:xfrm>
            <a:off x="4090820" y="5748114"/>
            <a:ext cx="148166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95" name="Заголовок 1">
            <a:extLst>
              <a:ext uri="{FF2B5EF4-FFF2-40B4-BE49-F238E27FC236}">
                <a16:creationId xmlns:a16="http://schemas.microsoft.com/office/drawing/2014/main" id="{C59A7818-58C3-EA48-E34C-15D46DED7688}"/>
              </a:ext>
            </a:extLst>
          </p:cNvPr>
          <p:cNvSpPr txBox="1">
            <a:spLocks/>
          </p:cNvSpPr>
          <p:nvPr/>
        </p:nvSpPr>
        <p:spPr>
          <a:xfrm>
            <a:off x="2209737" y="5748114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96" name="Прямоугольник: скругленные углы 95">
            <a:extLst>
              <a:ext uri="{FF2B5EF4-FFF2-40B4-BE49-F238E27FC236}">
                <a16:creationId xmlns:a16="http://schemas.microsoft.com/office/drawing/2014/main" id="{9902B5B9-29D4-1FD7-D7A6-253FE3179C59}"/>
              </a:ext>
            </a:extLst>
          </p:cNvPr>
          <p:cNvSpPr/>
          <p:nvPr/>
        </p:nvSpPr>
        <p:spPr>
          <a:xfrm>
            <a:off x="5910716" y="5221423"/>
            <a:ext cx="1581666" cy="940925"/>
          </a:xfrm>
          <a:prstGeom prst="roundRect">
            <a:avLst/>
          </a:prstGeom>
          <a:solidFill>
            <a:srgbClr val="ECB2B2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97" name="Заголовок 1">
            <a:extLst>
              <a:ext uri="{FF2B5EF4-FFF2-40B4-BE49-F238E27FC236}">
                <a16:creationId xmlns:a16="http://schemas.microsoft.com/office/drawing/2014/main" id="{3BADF81A-0B3E-17C1-28CD-3CCD749977B2}"/>
              </a:ext>
            </a:extLst>
          </p:cNvPr>
          <p:cNvSpPr txBox="1">
            <a:spLocks/>
          </p:cNvSpPr>
          <p:nvPr/>
        </p:nvSpPr>
        <p:spPr>
          <a:xfrm>
            <a:off x="5910716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rgbClr val="C00000"/>
                </a:solidFill>
              </a:rPr>
              <a:t>243 </a:t>
            </a:r>
            <a:r>
              <a:rPr lang="ru-RU" sz="1600" kern="0" dirty="0">
                <a:solidFill>
                  <a:srgbClr val="C00000"/>
                </a:solidFill>
              </a:rPr>
              <a:t>тыс.</a:t>
            </a:r>
            <a:endParaRPr lang="ru-KZ" sz="1600" kern="0" dirty="0">
              <a:solidFill>
                <a:srgbClr val="C00000"/>
              </a:solidFill>
            </a:endParaRPr>
          </a:p>
        </p:txBody>
      </p:sp>
      <p:sp>
        <p:nvSpPr>
          <p:cNvPr id="98" name="Заголовок 1">
            <a:extLst>
              <a:ext uri="{FF2B5EF4-FFF2-40B4-BE49-F238E27FC236}">
                <a16:creationId xmlns:a16="http://schemas.microsoft.com/office/drawing/2014/main" id="{12D319F4-E754-33B6-F003-09438280B5BD}"/>
              </a:ext>
            </a:extLst>
          </p:cNvPr>
          <p:cNvSpPr txBox="1">
            <a:spLocks/>
          </p:cNvSpPr>
          <p:nvPr/>
        </p:nvSpPr>
        <p:spPr>
          <a:xfrm>
            <a:off x="5961733" y="5748114"/>
            <a:ext cx="1511718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3FE23729-C874-CA81-F6A0-C89DD2CBE9A1}"/>
              </a:ext>
            </a:extLst>
          </p:cNvPr>
          <p:cNvSpPr/>
          <p:nvPr/>
        </p:nvSpPr>
        <p:spPr>
          <a:xfrm>
            <a:off x="283653" y="1333332"/>
            <a:ext cx="1587484" cy="940925"/>
          </a:xfrm>
          <a:prstGeom prst="round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EBE1FA9B-6F57-FDFE-6FEE-9EE7F48FA8C4}"/>
              </a:ext>
            </a:extLst>
          </p:cNvPr>
          <p:cNvSpPr txBox="1">
            <a:spLocks/>
          </p:cNvSpPr>
          <p:nvPr/>
        </p:nvSpPr>
        <p:spPr>
          <a:xfrm>
            <a:off x="289471" y="145868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chemeClr val="bg1"/>
                </a:solidFill>
              </a:rPr>
              <a:t>1 069 </a:t>
            </a:r>
            <a:r>
              <a:rPr lang="ru-RU" sz="1600" kern="0" dirty="0">
                <a:solidFill>
                  <a:schemeClr val="bg1"/>
                </a:solidFill>
              </a:rPr>
              <a:t>тыс.</a:t>
            </a:r>
            <a:endParaRPr lang="ru-KZ" sz="1600" kern="0" dirty="0">
              <a:solidFill>
                <a:schemeClr val="bg1"/>
              </a:solidFill>
            </a:endParaRPr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FB4BAA49-BCA2-C92F-FF2D-00A5669974B1}"/>
              </a:ext>
            </a:extLst>
          </p:cNvPr>
          <p:cNvSpPr txBox="1">
            <a:spLocks/>
          </p:cNvSpPr>
          <p:nvPr/>
        </p:nvSpPr>
        <p:spPr>
          <a:xfrm>
            <a:off x="334021" y="186002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факт 2024 года</a:t>
            </a:r>
            <a:endParaRPr lang="ru-KZ" sz="1200" b="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AEA7856A-451C-B788-ED45-9A3418792D1D}"/>
              </a:ext>
            </a:extLst>
          </p:cNvPr>
          <p:cNvSpPr/>
          <p:nvPr/>
        </p:nvSpPr>
        <p:spPr>
          <a:xfrm>
            <a:off x="283653" y="3372492"/>
            <a:ext cx="1587484" cy="940925"/>
          </a:xfrm>
          <a:prstGeom prst="round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22B497E-F81F-267A-645F-7D23001FB39B}"/>
              </a:ext>
            </a:extLst>
          </p:cNvPr>
          <p:cNvSpPr txBox="1">
            <a:spLocks/>
          </p:cNvSpPr>
          <p:nvPr/>
        </p:nvSpPr>
        <p:spPr>
          <a:xfrm>
            <a:off x="289471" y="3497840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ru-RU" sz="2400" kern="0" dirty="0">
                <a:solidFill>
                  <a:schemeClr val="bg1"/>
                </a:solidFill>
              </a:rPr>
              <a:t>769 </a:t>
            </a:r>
            <a:r>
              <a:rPr lang="ru-RU" sz="1600" kern="0" dirty="0">
                <a:solidFill>
                  <a:schemeClr val="bg1"/>
                </a:solidFill>
              </a:rPr>
              <a:t>тыс.</a:t>
            </a:r>
            <a:endParaRPr lang="ru-KZ" sz="1600" kern="0" dirty="0">
              <a:solidFill>
                <a:schemeClr val="bg1"/>
              </a:solidFill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9FF3B08F-3136-279C-6D92-C3972F9F926E}"/>
              </a:ext>
            </a:extLst>
          </p:cNvPr>
          <p:cNvSpPr txBox="1">
            <a:spLocks/>
          </p:cNvSpPr>
          <p:nvPr/>
        </p:nvSpPr>
        <p:spPr>
          <a:xfrm>
            <a:off x="334021" y="3899183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факт 2024 года</a:t>
            </a:r>
            <a:endParaRPr lang="ru-KZ" sz="1200" b="0" kern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E91B021D-B6E8-FB21-431B-3B8E0EC026E4}"/>
              </a:ext>
            </a:extLst>
          </p:cNvPr>
          <p:cNvSpPr/>
          <p:nvPr/>
        </p:nvSpPr>
        <p:spPr>
          <a:xfrm>
            <a:off x="283653" y="5221423"/>
            <a:ext cx="1587484" cy="940925"/>
          </a:xfrm>
          <a:prstGeom prst="roundRect">
            <a:avLst/>
          </a:prstGeom>
          <a:solidFill>
            <a:schemeClr val="accent2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/>
          </a:p>
        </p:txBody>
      </p:sp>
      <p:sp>
        <p:nvSpPr>
          <p:cNvPr id="17" name="Заголовок 1">
            <a:extLst>
              <a:ext uri="{FF2B5EF4-FFF2-40B4-BE49-F238E27FC236}">
                <a16:creationId xmlns:a16="http://schemas.microsoft.com/office/drawing/2014/main" id="{547F51EA-0763-F5E5-43F4-2FC36B6B3AC6}"/>
              </a:ext>
            </a:extLst>
          </p:cNvPr>
          <p:cNvSpPr txBox="1">
            <a:spLocks/>
          </p:cNvSpPr>
          <p:nvPr/>
        </p:nvSpPr>
        <p:spPr>
          <a:xfrm>
            <a:off x="289471" y="5346771"/>
            <a:ext cx="158166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>
              <a:lnSpc>
                <a:spcPct val="80000"/>
              </a:lnSpc>
            </a:pPr>
            <a:r>
              <a:rPr lang="en-US" sz="2400" kern="0" dirty="0">
                <a:solidFill>
                  <a:schemeClr val="bg1"/>
                </a:solidFill>
              </a:rPr>
              <a:t>269</a:t>
            </a:r>
            <a:r>
              <a:rPr lang="ru-RU" sz="2400" kern="0" dirty="0">
                <a:solidFill>
                  <a:schemeClr val="bg1"/>
                </a:solidFill>
              </a:rPr>
              <a:t> </a:t>
            </a:r>
            <a:r>
              <a:rPr lang="ru-RU" sz="1600" kern="0" dirty="0">
                <a:solidFill>
                  <a:schemeClr val="bg1"/>
                </a:solidFill>
              </a:rPr>
              <a:t>тыс.</a:t>
            </a:r>
            <a:endParaRPr lang="ru-KZ" sz="1600" kern="0" dirty="0">
              <a:solidFill>
                <a:schemeClr val="bg1"/>
              </a:solidFill>
            </a:endParaRPr>
          </a:p>
        </p:txBody>
      </p: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7CB05078-9C0D-F50C-1C80-E16B11DB62EF}"/>
              </a:ext>
            </a:extLst>
          </p:cNvPr>
          <p:cNvSpPr txBox="1">
            <a:spLocks/>
          </p:cNvSpPr>
          <p:nvPr/>
        </p:nvSpPr>
        <p:spPr>
          <a:xfrm>
            <a:off x="334021" y="5748114"/>
            <a:ext cx="1492482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b="0" kern="0" dirty="0">
                <a:solidFill>
                  <a:schemeClr val="bg1"/>
                </a:solidFill>
                <a:latin typeface="+mn-lt"/>
              </a:rPr>
              <a:t>факт 2024 года</a:t>
            </a:r>
            <a:endParaRPr lang="ru-KZ" sz="1200" b="0" kern="0" dirty="0">
              <a:solidFill>
                <a:schemeClr val="bg1"/>
              </a:solidFill>
              <a:latin typeface="+mn-lt"/>
            </a:endParaRPr>
          </a:p>
        </p:txBody>
      </p:sp>
      <p:graphicFrame>
        <p:nvGraphicFramePr>
          <p:cNvPr id="23" name="Таблица 22">
            <a:extLst>
              <a:ext uri="{FF2B5EF4-FFF2-40B4-BE49-F238E27FC236}">
                <a16:creationId xmlns:a16="http://schemas.microsoft.com/office/drawing/2014/main" id="{B3F16EF2-C82B-C9F6-3BF1-78498BEFE2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083277"/>
              </p:ext>
            </p:extLst>
          </p:nvPr>
        </p:nvGraphicFramePr>
        <p:xfrm>
          <a:off x="8098131" y="2734504"/>
          <a:ext cx="3724860" cy="1706880"/>
        </p:xfrm>
        <a:graphic>
          <a:graphicData uri="http://schemas.openxmlformats.org/drawingml/2006/table">
            <a:tbl>
              <a:tblPr/>
              <a:tblGrid>
                <a:gridCol w="212432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551568">
                  <a:extLst>
                    <a:ext uri="{9D8B030D-6E8A-4147-A177-3AD203B41FA5}">
                      <a16:colId xmlns:a16="http://schemas.microsoft.com/office/drawing/2014/main" val="1171536109"/>
                    </a:ext>
                  </a:extLst>
                </a:gridCol>
                <a:gridCol w="472494">
                  <a:extLst>
                    <a:ext uri="{9D8B030D-6E8A-4147-A177-3AD203B41FA5}">
                      <a16:colId xmlns:a16="http://schemas.microsoft.com/office/drawing/2014/main" val="2543349747"/>
                    </a:ext>
                  </a:extLst>
                </a:gridCol>
                <a:gridCol w="507936">
                  <a:extLst>
                    <a:ext uri="{9D8B030D-6E8A-4147-A177-3AD203B41FA5}">
                      <a16:colId xmlns:a16="http://schemas.microsoft.com/office/drawing/2014/main" val="396353101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 Астана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95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 20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 1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 2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 Алмат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 597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 66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 71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 29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 26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 545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 8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 44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 39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 13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 6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 7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03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 69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 0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 0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473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 46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 6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 2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64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 568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 0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 7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938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 93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 5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 3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84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828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 1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3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167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574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 0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6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252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 77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 5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 7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642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 01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2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 96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571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00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 8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1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23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2 38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 65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 8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7 6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</a:tbl>
          </a:graphicData>
        </a:graphic>
      </p:graphicFrame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8ACB25F6-5467-C043-23DA-4DFC683502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8449143"/>
              </p:ext>
            </p:extLst>
          </p:nvPr>
        </p:nvGraphicFramePr>
        <p:xfrm>
          <a:off x="8098131" y="4637004"/>
          <a:ext cx="3724860" cy="1706880"/>
        </p:xfrm>
        <a:graphic>
          <a:graphicData uri="http://schemas.openxmlformats.org/drawingml/2006/table">
            <a:tbl>
              <a:tblPr/>
              <a:tblGrid>
                <a:gridCol w="212432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1551568">
                  <a:extLst>
                    <a:ext uri="{9D8B030D-6E8A-4147-A177-3AD203B41FA5}">
                      <a16:colId xmlns:a16="http://schemas.microsoft.com/office/drawing/2014/main" val="3118754351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2543349747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3963531014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1716669735"/>
                    </a:ext>
                  </a:extLst>
                </a:gridCol>
                <a:gridCol w="490215">
                  <a:extLst>
                    <a:ext uri="{9D8B030D-6E8A-4147-A177-3AD203B41FA5}">
                      <a16:colId xmlns:a16="http://schemas.microsoft.com/office/drawing/2014/main" val="416942103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044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 31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0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6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367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235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8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10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74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2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81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7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2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7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5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 Астана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23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27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0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9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6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782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15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8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7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7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 Алматы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60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263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9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0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8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29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84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8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05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9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136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37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8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4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0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675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06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5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1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039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81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5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2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266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82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6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3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59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21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7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2237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cap="non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4</a:t>
                      </a:r>
                    </a:p>
                  </a:txBody>
                  <a:tcPr marL="9525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</a:t>
                      </a:r>
                    </a:p>
                  </a:txBody>
                  <a:tcPr marL="72000" marR="9525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263</a:t>
                      </a:r>
                      <a:endParaRPr lang="ru-KZ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 729</a:t>
                      </a:r>
                    </a:p>
                  </a:txBody>
                  <a:tcPr marL="9525" marR="9525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 67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01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6941532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38749B-98B6-FB0C-893B-E142F0998A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917ABD1-391E-3491-E477-D300F0C4C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одоснабжение и удаление отходов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11241BB-205F-488B-8FCF-3BF6A1BEE2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F94E74C-42D7-D92C-FF19-ED9ADC88DAE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D86980A-C149-AD37-FD61-7D07BD8B49A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4381ABF-D76F-FB97-80AD-58FB3A19843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13024126-218B-B81A-A523-3847CEF2525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FD0AEBA-C409-5375-A4A9-E7739EFB6DD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F69F282-E534-32A5-ED2B-0082F484574F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642C593-560F-2099-2F6D-23FF76183B2C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тролеры счетчиков (учетчики показаний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асосных установо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усоровоз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водо-, электро- и энергоснабжающи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звозчики и водители машин на тягловой сил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на производ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поливальн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мату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мента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ульдозе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строи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мет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5C24C3A9-EFCE-2442-3B54-77D93F46663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0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3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4EFC531-1C3B-8924-22B0-65A58152D1A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8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6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BE76F1D-A4AB-367F-FA2C-6B01D712833C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70708D02-F2C5-E5E8-E06E-72D291098A5C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857834B6-DC20-AF22-FB81-1C7380661528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330C01FD-8E34-824C-991D-A3D10672E3F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4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36BA02AB-207C-EA9D-1CA2-FFBFD01C2C6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A204B1E4-D5A3-5478-512B-159CD15BB85D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0C3B64FE-8D90-8B3E-933A-08D7347E54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027581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2981E03E-37A5-C887-BB6A-732C427F717B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00B91B30-67BC-B17A-5E1A-4DE0553A1A89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27D7EDAE-3270-6A26-EB36-E1BF97C17CE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895C287-35B2-3133-C336-928787DB5139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731DF6D-28B9-BDC5-A365-8D031227D075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516466213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BC06125-9A9C-B05B-8076-00E8EEE22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1B15DEE-EC01-963A-4737-3C094FF99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оительство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2BAABD7-7E60-D1E5-F371-BC6AA515A8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32A8F2D9-F8F8-5D61-5F4F-9ECEF13B009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C4BC8AC-04DA-BA86-016B-5A344A87CA29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F48E5C6-365A-548C-F440-104096E3A89A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3EF4EC3-88A8-3CF7-E3C1-B7AE6B85447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361E373-04FC-E7AE-78F5-A2BAFF32A88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26B75F3-5D03-78DC-ECB8-96D5D9F3665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D608A1C-FE6B-9757-6161-569FEA23F61B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22490E1-F1BC-CD2A-7B43-9262FF061352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3F7C103-1507-4D8E-BF62-18F0D230372C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3E4A37F0-1BA4-34CE-5183-7832121C39BE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F0F84737-7F6A-9D74-132E-3297BDD9BC3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A4F55C32-F7CD-CF5B-9934-A9D943ADD9C9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1228318-EBB6-6DCA-ABB1-584FC7F13F12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941A9782-14C8-0C26-455F-44AD4F03FD1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61D7C6BF-9818-DDB5-B534-638CAF67A3CC}"/>
              </a:ext>
            </a:extLst>
          </p:cNvPr>
          <p:cNvGraphicFramePr/>
          <p:nvPr/>
        </p:nvGraphicFramePr>
        <p:xfrm>
          <a:off x="5359400" y="3181383"/>
          <a:ext cx="2084082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DE21DA5-5895-7495-DF81-C5C58D51AF52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DD31BF97-68DA-216F-97E6-3B196861F90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4126621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3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8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6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7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етоноотделочники и шлифоваль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вар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ригадиры над строителя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смет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строи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яры и декораторы фасадов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монтаж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строител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матур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мен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от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олир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еодез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механ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большегрузн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автопогрузчи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плотех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инженеры-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969860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DC6DB8A-E2F3-095B-A833-C387CF60BB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592C859-C1CF-F5C9-0CF2-BB05402381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оительство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01BE000-6041-7FBD-A9A5-1B1FCE67F0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987B7A6-9583-9E10-454B-167D4490F5D6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5FEC2568-05F8-CB9F-AB09-EBAA43E08D1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BE65DD7-7513-A9D6-F794-0DA735A14B3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6EE36EDD-24E1-1975-F8DB-212A38505399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84E5148-1E60-CDD8-0D3E-2F7376378CE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C877B57-00F4-8BD2-6976-D6ECF95547EA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D0CC4ED3-700B-49FC-1E7A-CEDE5ED6100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тоноотделочники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и шлифова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сборщики металлоконструкц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монтажники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декораторы фасадов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троител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строи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мет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рмату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олир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амен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большегрузн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очистке фасадов,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плотех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одез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иТБ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07C59FC-BF39-E780-FCC4-B7C30AA9CE67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4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8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3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0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8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4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3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5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9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E95B1C27-4C60-121E-1B0C-EB3F69473D90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402C2CA9-4A5E-E3B6-3708-6B306832F0A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91C711E3-4EB3-106A-3BFB-E815B422085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42F03BFA-DB20-853F-1977-D9D9B541DBB7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C7A6DF2-D8B0-B415-CC28-920503C71E1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6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67506800-7965-5951-F943-373966B0E94E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3CEE9B89-7C68-6807-1CCF-34F2E9F8DE2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4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9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A9A36FFC-7151-13D8-59F0-6A09ABC84F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70881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D2D72AF-D76A-455C-F3A9-DA385EB806A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83FDA590-26AE-F0D9-3DF8-61F46BE8226F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0DE41273-CF9A-2A6D-E6B2-CB19261CC842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22A9B3B8-26C6-631F-57AB-5C03370BDE3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4F8BD1C0-AB4F-D4DF-4B17-D18B383C3846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13923708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54344C-BCA1-9B45-D66E-6E387D6170A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734AFEE-8DA6-E3AD-6E98-752262EC44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орговля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FECB233-93D9-0949-0F75-F918E192A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1A88B30-6E85-659C-2EEE-B1DD33C04C4E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CB96F55-4755-2D36-CEC0-A2F7A227E804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6DEFF103-A762-C96C-749B-C00895F940DA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8CE2F09-334A-30C8-DAF9-D799A756E69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D6F93FA-C186-57CE-6FCB-DAD3BAE24E06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2A02EC6-798D-E7AA-A9A4-4DA6D035E28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56B9366-F3EF-D7FB-AF44-B124969B63F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254BADE4-6696-E088-60E9-4F8E9AF20CE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93B6EFAF-C28A-5C94-3105-4A232BAF24FD}"/>
              </a:ext>
            </a:extLst>
          </p:cNvPr>
          <p:cNvGraphicFramePr/>
          <p:nvPr/>
        </p:nvGraphicFramePr>
        <p:xfrm>
          <a:off x="184347" y="3181383"/>
          <a:ext cx="3188786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22F75AD4-9F3C-B50D-FE65-555CB2AB632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D78F1765-0E52-5353-4ABF-FA1C9EAD6C3F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7EBE84F5-45EE-93F8-5F1F-1D5EEBEE828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9B8E3295-364A-DCCD-9A66-0AE9E4569ED6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6F180E1-BB7A-30EF-1558-E5A9547D948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7C558EDC-F47B-C67E-811C-D3E00FB02F1B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E30577D5-C608-0EB3-05A0-4903F76EAD7E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211FE1A-CD43-1BF1-79AE-FC537E075F9C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882276462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1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8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4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8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рговцы на улицах и рынк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кар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на склад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паковщики вручну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фармацевтической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кладир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на склад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фармацевты и помощники фармацев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моженные агенты и экспедито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автопогрузчи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услугам торгов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четоводы и помощники бухгалт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удомойщики, собиратели тарелок и уборщики стол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фон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393094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8AF8D96-CCB0-A0F7-FAEB-EF3DEA0320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29ABE5-FFD9-1C7E-C99B-AE59A3467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орговля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22DFB5A-A84E-5E92-B23E-C67DBF2CF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04D09F9-B65D-2862-0DC0-E024FBF21DAB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DBA02A2-A300-3F44-0062-7C6CE0E789A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41405EA-10D1-0396-D78E-CF5C098D289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DCF68C4-CA51-29C3-C6F6-1E0D52C40F97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B6B622DE-9D3B-AC7D-BD05-536D941AE28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846CC21-C66C-BC8F-5FAC-C366F21B5AC5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666E3B6-E92F-3CEB-E425-E1D752CEBD7D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0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9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цы на улицах и рынк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кладир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родаж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на склад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паковщики вручну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фармацевтической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склад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фармацевты и помощники фармацев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моженные агенты и экспедито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судомойщики, собиратели тарелок и уборщики стол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цент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лефон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ромышленных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DA7D0CA-BEBB-FE1C-D59A-B02EE7C98FF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2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4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 8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2993EA6-E307-82EB-5068-437445FC9978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73,0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9F93F813-71CE-593C-DB55-6E42917C7F8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81,4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F79ED545-9E58-072D-EBBE-BB170F7AED31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6F7C53F6-B66E-CF62-EA78-4346FFE73976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86247FB-6923-4972-165F-08560004252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86,7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C7D32487-CADC-1FFC-DD43-D3293EEC7629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11A8EB0D-E46A-DD42-06B6-222327483FA2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BED90FDB-5605-AF69-591E-22019A8A69F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245132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32BFFB0C-B16B-BFC3-2F61-1DAA71F10043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5C3487D3-9E84-AE3A-EE27-5A0FF4289E6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5ECA715-2BAF-8663-9D41-BF1CA9C4750D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11B8E02E-3A81-C7BD-56FB-A464F037064E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6B2175DA-210F-5E34-6ECD-39D58A08FC7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99329258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DC23A-65EA-EFA4-BE25-5F9093C76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8E7883-F4C4-65D0-6794-EAECBB7D0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ранспорт и складирование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305CF98-1A4F-BBF0-E0AD-CD6941EB0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0E1D149-1DFB-F994-BFF1-F24FFFC28492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841E920-4203-FB2D-3861-B077FDA2562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7DE9607-C6DB-AA5E-D0F6-77DBE25BE1F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A4192F-F608-D063-871A-EFF33CF64B2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74C7046-53CA-250D-AD05-32A7379806B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7CAF0FF-9D82-3E84-19C0-14E5DC4C7F3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D6AA72C-5822-2904-8C3B-8A898C192A2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3E54515-F13E-4D54-630A-65F200D630B0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8D1F524-C158-159A-F27C-1B2B3E02888E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52FF1C1-211B-1F72-427B-425C0ADB248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424EC3B3-9DF3-8A13-9B08-BAB4C4D9257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30649D36-1E10-A360-3A45-26F807862C9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62F56B6-4C22-BA93-0D4E-3AA9421F01D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4242E0-00B7-3DAE-9AF2-3174CF50F0F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BBE6B5F3-1FAB-5A38-7ACE-35E4B36B9446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EA63739-D89D-76CD-78DC-62C6216CA8C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286A68F-2481-8C12-BEA3-E30FA977923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631240626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2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в области транспорт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ы локомотив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укторы и контролер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Члены палубной команд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чтальоны и курь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на транспорт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транспортных подразделений обще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судомеханики и техники-кораблестрои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водники и стюард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в аэропорт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производству зерновых продук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автопогрузчи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ика с прицепо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йщики транспортных средст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виационные диспетч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логистик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испетчеры по транспорту и работники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шинисты трамва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на склад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туризму и родственным занятия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авиационной техник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4532715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81375-63B7-5C80-0AA9-EFC39057A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1CF06FB-5B36-A106-B0E0-4FF671257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Транспорт и складирование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A61A7F4-326B-65C6-FFBD-0D056EC5C2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61FC6249-85CC-9544-EDCC-0B3380DCE27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4B97FE6-F076-D7C2-A407-0501B424CED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E9C947E-04A9-5B8E-2F32-DC8228D04ABD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41D3723-4959-6E67-12FC-F050B8DD300D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2D00706-4798-E5C3-A92D-991C213D9B01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AE0E2C73-2B80-62D4-EEB1-E2BE2A2D3ED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BB7C253-3756-AE45-CF1F-7B4C72E57C09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шинисты локомотив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в области транспорт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Члены палубной команд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ы и контролер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чтальоны и курь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транспорт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транспортных подразделений обще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судомеханики и техники-кораблестрои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в аэропорт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водники и стюард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ика с прицепо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йщики транспортных средст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производству зерновых продук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иационные диспетч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на склад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автопогрузчи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испетчеры по транспорту и работники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такс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логистик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Диспетчеры сухопутного транспорт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ые изготовители и монтажники металлоконструкц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туризму и родственным занятия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760303B1-0063-B8BC-6F21-4B1AF151C66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9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0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3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3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3C12D0F1-ED19-2FE4-1C94-544CC6A7ED4A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2,3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F6BDEA5A-C55B-DC00-20CA-D51EF362966D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38,3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C2EB9C91-9D91-C234-A88D-7094A790CCC4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A6090F3F-D574-DB7A-144E-4E5D3D7C5E9D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487356F5-10C2-A69E-02DF-02EB49C371F2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34,4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A281BBAD-471B-0B55-6664-DBB3DB740D66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FA1FD870-55A0-2ADC-D28B-7A4EBE140C00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2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E7BCBBBD-7FE2-701B-B2B9-A3F13122B3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467270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7B795895-90DE-30E4-8DEC-5ED70ED23714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DE0E0954-B2C3-036E-0898-83D81EF5DB25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9223E434-70DE-A646-A2C2-0C08602CDA0B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1AE66343-82E8-C317-2052-0115CAB55B3E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C9CC953-88E6-9DBF-0E58-39C6E24F94C0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55721754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A643BE2-A592-DCEE-F52D-6F2F05BB5F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05125A-4A6F-22D5-C5CF-FAE6C38CF9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слуги по проживанию и питанию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FD25596-FC17-8C3B-5C76-595B89E887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86D554F-6C8E-34CF-833E-EFAE3E0D388A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5CFD6B6-402C-293B-9337-7A7160A0F68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EF17FA3-CA4D-AF40-6CC4-EC667C6B232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1BA7F8D-02F7-0C57-EC77-42A244D5AAF3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8922DDB6-E520-7D1B-2325-33CC0738F897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DA282370-E0DD-E47C-EB00-A4B4F62549C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4D921291-D613-288E-E7E1-7FF9DED3EFB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B9D431D8-8EE9-5FE1-3B93-F27B6700986E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F6769F9-BFF7-2AD3-CA5F-A99C11211C88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50885BC-1B75-C232-A72F-BD4792909304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2558DA4-FA93-C8F3-85C1-73BF24475327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D340A540-EA35-593A-86F0-489A424DC640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CCD9D99-2D72-67D9-9EDC-3B7A0671943D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8718CB8A-8592-6194-232F-8AD7DA1195E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A3095E0F-2695-42BA-B774-855F3177E3B9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64CFCDBB-18C3-D0D8-9070-3BB93B006450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A2CD7FE6-7804-1C0A-C7B1-82A50B19956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78582934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5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удомойщики, собиратели тарелок и уборщики стол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точках общественного пит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кар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ачки и гладильщицы вручну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сепшион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еф-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услугам пит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рганизаторы конференций, выставок и других меропри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рьеры на автомобиля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йца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кари хлебобулочных издел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орговцы на улицах и рынк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сажисты (не медицинский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вые руководители учреждений и организац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516937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FB72CCE-86B9-DC26-3DE5-C97CBAC12A9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2DA61B-1C00-6AC3-2AFF-BE4657906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Услуги по проживанию и питанию</a:t>
            </a:r>
            <a:r>
              <a:rPr lang="en-US" dirty="0"/>
              <a:t> </a:t>
            </a:r>
            <a:r>
              <a:rPr lang="ru-RU" dirty="0"/>
              <a:t>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67D198C-B8EB-9D55-F92B-CC53721440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B619419-0167-1662-8080-E6F5063A255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95E0ABC-C00D-E627-4A13-4DA46F8439A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1826097-DFC8-C443-67AE-21527F131B9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5EF5454-85E9-22AA-FD95-42792555DDF5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11C0D98-0DD0-963A-B682-421B304B8BE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AA66BE8-C3DA-6C0F-91EA-5176D9491088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32B8D12-B3DF-2702-1127-FD28B17F31E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судомойщики, собиратели тарелок и уборщики стол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точках общественного пит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ачки и гладильщицы вручну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торы конференций, выставок и других меропри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еф-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епшион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сажисты (не медицинский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кари хлебобулочных издел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вейца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орговцы на улицах и рынк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услугам пит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ьеры на автомобиля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транспорта и в связ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пищево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склад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паковщики вручну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7DF117D6-35B2-BC7F-5931-A5D243AA7F6B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8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4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B94620FA-6193-F416-DBA0-8F2075E46A65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4,3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446ED19-0227-F5D2-ECA8-4B11AA72C93C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6,8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11906F45-4BCB-6502-14D9-04CB762E7FF3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1EE1A0C4-701B-0C38-DDEF-1FB6096B4C5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12922C5B-998D-DABD-3227-BFAD6675738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8,5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A71B32B7-EE1E-590C-D31E-DE10E5F499FD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8C60F3FB-A373-7E9F-E0EE-71D3366DDB2D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0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4D2DDE4-F841-88F7-2529-91A91AFFFB8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403324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147E0B42-A48F-E34D-9C2A-EDCF490DC0C5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010911DC-37F1-FE25-DC7D-525B33DF770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631710AD-D99A-298F-1FA5-7FE96FE87C34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370A6A5A-A2E0-693D-81DD-A8DBF61E82DA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7870CFD-B165-CFCD-C5BB-269AE83B631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6743596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C2DC23A-65EA-EFA4-BE25-5F9093C761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8E7883-F4C4-65D0-6794-EAECBB7D07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формация и связ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305CF98-1A4F-BBF0-E0AD-CD6941EB05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6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0E1D149-1DFB-F994-BFF1-F24FFFC28492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841E920-4203-FB2D-3861-B077FDA25625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7DE9607-C6DB-AA5E-D0F6-77DBE25BE1F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3A4192F-F608-D063-871A-EFF33CF64B2A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74C7046-53CA-250D-AD05-32A7379806BE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7CAF0FF-9D82-3E84-19C0-14E5DC4C7F3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D6AA72C-5822-2904-8C3B-8A898C192A21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C3E54515-F13E-4D54-630A-65F200D630B0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8D1F524-C158-159A-F27C-1B2B3E02888E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52FF1C1-211B-1F72-427B-425C0ADB2483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424EC3B3-9DF3-8A13-9B08-BAB4C4D9257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30649D36-1E10-A360-3A45-26F807862C94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62F56B6-4C22-BA93-0D4E-3AA9421F01D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6D4242E0-00B7-3DAE-9AF2-3174CF50F0F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BBE6B5F3-1FAB-5A38-7ACE-35E4B36B9446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EA63739-D89D-76CD-78DC-62C6216CA8C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286A68F-2481-8C12-BEA3-E30FA977923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397002574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автоматиза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сопровождению П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работчики и тестировщики П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Журнал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лефон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ультанты и бизнес-аналитики по И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телекоммуникация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на склад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работчики и тестировщики Web и мобильных прило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-техники по телерадиовеща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онтажники и наладчики по телекоммуникациям (ИКТ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компьютерным сетям и инфраструктур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истемные аналит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телекоммуникаций (ИКТ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-техники по телекоммуникация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баз данны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, оказывающие различные уличные услу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тролеры счетчиков (учетчики показаний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ультанты по управлению и ведению бизнес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жиссеры и продюс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укторы и контролер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ные анали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езопасности информ. инфраструктуры и И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туризму и родственным занятия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-техники по поддержке пользователей ИК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афические и мультимедийные дизайн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компьютерному аппаратному обеспече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информационным технология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энерго и водосбереже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392224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4D7FAA-670B-7D57-ADAD-DC738EDA03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958C9F0-47DA-9979-9168-EA31CD31C1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остребованные рабочие профессии (2025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7464B9CF-C6CA-A8B1-13F0-A2436552C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5184E0C-5BEE-F960-28C9-7B24A053F1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341580"/>
              </p:ext>
            </p:extLst>
          </p:nvPr>
        </p:nvGraphicFramePr>
        <p:xfrm>
          <a:off x="72000" y="7257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едний медицинский персонал по уходу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 2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0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вар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3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нтехники и трубопроводч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3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5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бойлеров и паровых машин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9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9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0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9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4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8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есари промышленного оборуд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4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2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азорезч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5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8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5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0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ители автобус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 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6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1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выработке электроэнерг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 5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6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0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3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ракторис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8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2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4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ители грузового автомобил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5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0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1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8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веи и реставраторы одежды и ткан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6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7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4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4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омонтеры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 2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3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3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-электрик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9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6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2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8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8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2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3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0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чие автослесари и автомехан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7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ы и рабочие по разведению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8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льдшер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2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5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анов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9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ханики и монтеры электротехнического производств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9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зготовители металлоконструкций (токари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9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вар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8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альцов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отн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онтажники и сборщики металлоконструкц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дитеры и изготовители кондитерских издел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ители микроавтобус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автопогрузчик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бочие в области транспорт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есоводы и рабочие родственных занят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редний медицинский персонал по акушерству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9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9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ые фермеры и рабочие животноводств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-механик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4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шинисты локомотив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ляры и декораторы фасадов зданий и сооружен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ой средний медицинский персонал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етоноотделочники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и шлифоваль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игадиры над строителям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литьевых машин для цветных металл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ормозные рабочие, стрелочники и сигналис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Лесомонтажник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кар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4D68B52E-4668-B5AC-4FB2-24EAAAE489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4032046"/>
              </p:ext>
            </p:extLst>
          </p:nvPr>
        </p:nvGraphicFramePr>
        <p:xfrm>
          <a:off x="6132000" y="7257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станка для покрытия провод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кари хлебобулочных издел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переработке и производству химической продукц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ители большегрузного автомобил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борщики автомобилей и отдельных часте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ы и рабочие по доярству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стильщики полов и плиточн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зготовители мясных и рыбных продуктов пит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зготовители промышленных и строительных материал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-строител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плавлению, литью металла и прокатного стан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Члены палубной команд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струменталь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матур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кер-механизаторы, прочие операторы подъемного оборуд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насосных установок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чие рабочие промышленности, строительства, транспорт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риль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месленники по глине и керамике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-технолог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золиров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рудообжигательной и металообжигательной печ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рнорабочие и шахтеры подземных выработок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ые изготовители и монтажники металлоконструкц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-фармацевты и помощники фармацевт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есари и ремонтники подвижного состав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изготовлению асбестоцементных издел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мен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производству зерновых продукт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ромышленных робот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добыче нефти и газ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Горнорабочие выработок открытым способо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ители грузовика с прицепо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борщики мебели и прочие сбор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ужащие по медицинской информац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умигаторщики и рабочие по борьбе с вредителями и сорнякам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рачечных машин и химической чист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адовники и садовод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ители пожарной машин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ператоры по термической обработке металл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ригадиры над рабочими по электрике и электронике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6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хники-энергет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испетчеры по транспорту и работники родственных занят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ермеры и рабочие по выращиванию полевых культур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ормовщики и стерженщ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ужащие на транспорте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8434920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C214F3-9B54-9EC6-D83C-8BE44E1F37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6D28AD-3DE2-DE30-6A68-0E3F9D87CE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нформация и связь</a:t>
            </a:r>
            <a:r>
              <a:rPr lang="en-US" dirty="0"/>
              <a:t> </a:t>
            </a:r>
            <a:r>
              <a:rPr lang="ru-RU" dirty="0"/>
              <a:t>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FB63C01-7646-898F-1C16-E45B8D025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D10D2BD-4DF4-D650-4EC9-CF47F3CAC57E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017F75D-DFFD-B671-ED0E-23951DAF4D2F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98D9E74-E314-DA5C-EA46-4376E627528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38CBCC16-5FB8-BE60-2DF3-3EDE86422042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78F5310-7E06-9DC0-E9FA-7E54AE42EE10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62A5859-66E7-D0C8-9C33-C14FFB507564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C1E1668F-F5C1-0001-F9F2-30907358863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автоматиза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сопровождению ПО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на склад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чики и тестировщики ПО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лефон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и бизнес-аналитики по И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урнал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чики и тестировщики Web и мобильных прило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телекоммуникация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цент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баз данны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истемные аналит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онтажники и наладчики по телекоммуникациям (ИКТ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тролеры счетчиков (учетчики показаний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ики и электромонтажники (кроме ЛЭП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туризму и родственным занятия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, оказывающие различные уличные услу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управлению и ведению бизнес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компьютерным сетям и инфраструктур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-техники по телекоммуникация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ы и контролер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-техники по поддержке пользователей ИК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езопасности информ. инфраструктуры и И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отограф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информационным технология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нали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обслуживанию клиен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-техники по телерадиовеща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-техники по телерадиовеща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афические и мультимедийные дизайн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компьютерному аппаратному обеспече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9AF00E99-A8E8-7317-2BD1-6314C5FC777C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6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62E4E05-3ABD-5EE8-C26B-9E8CD5896758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3,6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2521E44-FFA6-369B-6545-BD062C67333E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1,2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4AA1173-6CFD-8C07-F154-D73C54ED7DA8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664F9EB-BBB3-E374-0EF8-D2900CBEC8C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FDF00299-86E7-C3C6-C4B2-80C45F06E6EF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9,8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78DD6F6-CA0A-0F32-B5EB-38A8905F210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ABD2B9C4-618F-3CD6-CE02-456ABCE5C221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AF267608-AF03-8348-0DE8-149761BD8C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0066686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4428497B-109A-5E36-3A01-6B3D7787985F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050EAEA-2197-04E8-CCB4-6FABA907305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B9C8B50F-35D4-65DD-D80D-E96DC5C49EBC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0AE0BF3-3E64-2D37-12A3-EEE23420331F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E1DD4C64-8ACF-22F1-EAD0-E04E4ED3288C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04016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83028E-F107-106B-9E13-F63819AEBD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429E9E4-AF8B-3907-77BE-43603E486E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инансы и страхование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A548E8F-2CC5-8A5C-FB3F-2576F69522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D45FBD2C-869A-E8D1-663F-823E984CFB5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F7BF732-48E7-FA4D-731C-C10ACF969090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4C66D30F-0ADD-2253-30C1-803C8D8AAB9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6530D49-4D9A-8FA6-0BA3-B6FDBF8CF35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CF6ABF8-9FFB-E7E8-5A92-A80F852CB53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E9E259D-800F-A7A3-91F6-B1C1E0DCDE96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C2B6B531-164C-577F-CA8E-2EB07FACCDE7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062FACAD-017F-4687-A0A7-0BDB29C54127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70E7B702-4765-5AB3-30BB-3145D84363E8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4884BC78-B469-1293-5294-36A22E24D5E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5AC0A1C8-9916-C11B-2F9C-E0752FCB38F8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D318AD32-46ED-E6BF-FCF5-B99878AFD42E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F75D13BD-2334-9BA1-AB6B-8815EFF9E2F9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0B6A681C-B707-FA71-5CF9-3D65E168C57A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1407A21A-87B1-B1E2-2E1E-CDC3B765452A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7D78D494-5FD2-A905-6DD1-66549FA211B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3FE24499-91AA-7722-3AC9-35620DED3EC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2883071614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ные анали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финансовой и страховой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, оказывающие государственные услу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ные аген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ы и работники по сбору задолженностей и платеж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ценщики и эксперты по страховой оценк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банков и работники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ультанты по финансовым вопросам и инвестиция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тевые, системные администраторы и администраторы серв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сультанты по управлению и ведению бизнес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илеры и брок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работчики и тестировщики Web и мобильных прило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удито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финансовые анали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работчики и тестировщики П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нансовые аналит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компьютерным сетям и инфраструктур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R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нансовые риск-анали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езопасности информ. инфраструктуры и И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обучению и развитию персонал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-исследо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вые руководители учреждений и организац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истемные аналит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баз данны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финансам и страхова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смет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туар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, связанные с хранением информа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разработчики и аналитики П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четоводы и помощники бухгалт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бухгалтерским операциям и учет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тис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5466387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69A1E0F-245E-782C-CBF4-D5C8EE981E6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A852824-87E0-8D93-07E4-466E98F54B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Финансы и страхование</a:t>
            </a:r>
            <a:r>
              <a:rPr lang="en-US" dirty="0"/>
              <a:t> </a:t>
            </a:r>
            <a:r>
              <a:rPr lang="ru-RU" dirty="0"/>
              <a:t>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37C23D6A-7A25-E4AB-D2AD-40AC18679B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C684322-CDB2-BA00-FF0D-A9FDD4022460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87A6C32-6C56-4E10-1EA7-285D8686A45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CEDAE75-0A58-4FC5-123B-1045C89DBB81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C04013D-3EC3-69E1-9F56-02B7BEFC0DD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E3D1891-550B-94BC-7524-39B6F8B7964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E172568-657E-F40C-942A-EA1E43F4F95B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4C80DC91-1901-DD2C-F345-73AAA290369B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нали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финансовой и страховой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цент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, оказывающие государственные услу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тевые, системные администраторы и администраторы серве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ген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ллекторы и работники по сбору задолженностей и платеж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ценщики и эксперты по страховой оценк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чики и тестировщики Web и мобильных прило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удито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банков и работники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PR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обучению и развитию персонал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финансовым вопросам и инвестиция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езопасности информ. инфраструктуры и И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истемные аналит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овые аналит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-исследова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инансовые анали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овые риск-анали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мет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рвые руководители учреждений и организац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финансам и страхова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уар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сультанты по управлению и ведению бизнес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илеры и брок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разработчики и аналитики ПО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баз данны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, связанные с хранением информа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работчики и тестировщики ПО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ломбарда и другие агенты по залогу вещ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надзору за строительство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юридической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компьютерным сетям и инфраструктур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бухгалтерским операциям и учет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атис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AA130EE4-0DFC-2A21-8F51-BEE29E3CD452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5F1719AA-356F-5F15-4909-7EB0590874A3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,8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C8F1AC93-97F8-5E84-CC19-D54EC730E43B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,7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8006181D-E702-FD0C-F858-ABACAE4FB1E6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94200B98-737E-8B64-EE00-0895DBD5CDAE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2BE3210D-BAFF-5E82-ABF4-720D5A75CE06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,0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97122933-45AE-CF14-3CAA-60D308F8AAF1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8DCA888-F47A-DB2F-5781-E9FEF1D7B05A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0F298E44-9006-746D-1382-9EF7067367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426218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E0CE5082-A482-F256-3847-AF430F78A2E1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3DDD251E-4533-0AE1-80F7-A09A75852D1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FC6A4C0D-0121-3417-BBF6-6EB4B06AA6EA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2CE41C5-9CA0-E029-D042-9308F659E756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7D270A4-D7E0-0047-5E53-885F82E6F207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290616455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A3B1AD-D13B-FF3A-D99F-FB70E25A90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2E28FB-DEF8-01FA-1590-E335C524B4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ерации с недвижимостью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5F5424F-1225-057B-9AF7-4BEF1E6AE6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1DBE9CD-059D-BF31-FAB2-B3E31F010BF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EE5DEB9-55C6-8C40-1087-6D0325DEC14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8E4EFFD5-1802-29B4-9C9D-15433DE4E865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8C87C7F-47ED-2EDD-64FF-955C6C29F1A4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E9DC29C-E836-42B1-C216-C4A3797B0739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5DFDB7A3-05D1-68E3-4157-7F555BEEFEB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36FA8CA5-7402-517B-F5EF-249CCB132B8D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DB7C94E-2826-CD5D-0646-782A802502F1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391AE797-8443-4EEF-B4AE-58ACA39A49A0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F7457837-11F4-D234-A4E8-D9660B184464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F603CAE5-B847-8986-D87A-8B32D9BF546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07EF88A2-7804-319D-2C36-0B13B4E18E3D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0B1404F-55A8-73EE-2F8D-7DC763DF6AF1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49626178-3C6B-B010-D428-D473CF2F289A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92817806-78EE-18BA-2CCB-2F383D145F9C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82B81C4-774E-96CD-BE34-A7BB0F3785E2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B9BD6F10-35AF-F871-2DD2-138FAA303ED0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124042552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операциям с недвижимость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горнодоб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от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энерге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вар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ные анали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ромышленных робо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точках общественного пит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533171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9DFDE11-403C-8BA3-FFC0-AB2D8E6F27D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89F110B-9B30-F873-909D-A279C84F89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перации с недвижимостью</a:t>
            </a:r>
            <a:r>
              <a:rPr lang="en-US" dirty="0"/>
              <a:t> </a:t>
            </a:r>
            <a:r>
              <a:rPr lang="ru-RU" dirty="0"/>
              <a:t>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1C687BBC-E625-79C6-EFA8-09FE86854A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DA57D7A6-20F5-7000-601A-6889C6D2AC85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B401D66-D34D-4624-FF40-C71DE9A17F7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73645C1E-6D11-FA02-4194-3D8CF329C90F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B12CD68D-76F8-15A5-C7FD-968F41ED2FDA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86E4126-C8EB-2953-54F6-CA43506BDA95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8966156-01D6-01B1-E015-22AF66A0898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1C8281B4-DFA2-6E20-D3BD-A624A5DAFA43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операциям с недвижимость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горнодоб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омышленных робо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энерге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стильщики полов и плиточ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нефте-, газоочистных и перерабатывающих установо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етоноотделочники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и шлифова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есари промышлен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операторы стационарного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точках общественного пит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судомойщики, собиратели тарелок и уборщики стол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70B3EBC4-659C-9BEA-8A0D-14552D9CF591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3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2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CF547A02-DEED-084F-B7F3-60752E8AD349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0,2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D82A20D-12CC-C75B-7D3A-4F6966E98C14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0,3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00EC3466-A08B-D0CE-D998-58885DD002C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D5FE52C7-4ED7-4412-4A07-FF03CD57B3C1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B3F6B30C-ED74-FF7A-821F-D1191470758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0,3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62FF498-78E7-2825-F3A3-CBAD74EC8173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FA31B48-0CA4-053B-0247-4B1D388446C4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DCBEE14-9F7E-94AE-7DE8-93E193567D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357720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3441AD1E-C46F-1A10-A6EF-C578C2ED1A6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33263EC5-FEAA-E40C-04FD-46D1461DDAA3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B732549-A19E-7AD9-8CB4-33886FA43396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A8831EFA-31AC-3063-5212-3FDDE0D31A55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72CBBF5B-0B17-E29E-9A6B-00709F49E0E9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3200639705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5761A2-0F77-977F-05CF-B195ACFBBAF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6B9AE73-DCA6-00D5-7C07-D43923DBA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ф. и научная деятельность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5CA49C50-790E-BEDB-034E-93E811401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68E3FBB1-69DE-F8E3-335D-239581751FEB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5D60F231-A3F6-910F-FF06-5C2D29722CFC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7498B58-8B60-078C-4ED5-23F183140AF7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F6C73DA5-E828-19D4-D133-F605580047D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A5C0C27-050C-E0FC-76BB-808A52CF7A71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1463A99A-89D1-72BB-802B-97FED17A908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7E4276E-056F-2F7C-9139-22E04AC7B1BC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9BA4E334-3BCF-BC9C-391E-A7AD1E6F91CA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E67DE0C9-A713-C10A-7127-868977D0DCF8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7CDCADC1-122C-F14E-A6EC-837C2B1B2E3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8E66604F-7CF3-6A43-8B7F-82E05F6E19C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68833395-061A-A586-EEB1-9688F05F643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2A9819E8-A5FD-CC69-1A56-4FCE67FFF778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1DBB3A1A-0694-7F00-9279-9D42E5D74A0E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38BDE270-8EE8-42D0-F377-E5250B0EB7CD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8841EE13-EACF-DBB3-FD93-6163B62E7C26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1A08E46-2E0D-ED46-3CB6-BB8CAD58980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502062190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теринарные фельдш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етеринарные врач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риль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м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четоводы и помощники бухгалт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хитекторы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строител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механ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смет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ртограф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ектировщики-градострои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-исследо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илологи, переводчики и другие лингв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-хим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по геодез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контролю каче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рвые руководители учреждений и организац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строительству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30435707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334F06-9FEC-18E3-0F01-C9E43B1F26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27B20B5-0D5E-7C91-6A5D-888757B673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ф. и научная деятельность</a:t>
            </a:r>
            <a:r>
              <a:rPr lang="en-US" dirty="0"/>
              <a:t> </a:t>
            </a:r>
            <a:r>
              <a:rPr lang="ru-RU" dirty="0"/>
              <a:t>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95B0640F-2F40-CDDC-0A23-2027729447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5BAF9FA-0189-181B-7F45-A7FCABAF00F5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E0846AD-0315-D6EC-ACC6-DF0DE3D187BE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B1611FB-797D-6C93-FCFC-E4F53388E24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714595A-A134-747A-BF7D-05C4343222C9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A1A8272D-AD14-895C-CF40-844EE626806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6E4340AA-080B-163D-D7BE-A63AF398E263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8362B2AC-2742-0822-059B-28970EC51C2C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фельдш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етеринарные врач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м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технолог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уриль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цент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четоводы и помощники бухгалте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итекторы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тограф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геодез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троител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контролю каче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-смет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ировщики-градострои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Электромонтеры и ремонтники по высоковольтным ЛЭП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ой средний медицинский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ые фермеры и рабочие животновод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строительны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рвые руководители учреждений и организац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BC90A558-CF85-91E6-E0A2-61A3C470B1FF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1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5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2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3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08DF6048-DB48-901C-E0E5-1BD85D9CEBDF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21,8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A3EEADC4-5E31-5097-5E48-5C369736C1E0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8,9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6A0A249A-77F7-5843-92BB-04815A96C558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62B8D36A-D2BA-AC79-752F-AFCC3F4548F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015E8DEF-02DE-3E6C-A4C3-DD7482FA9303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17,1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ED172316-5225-B472-858C-7BD5E4780612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EAB3A03A-3E5C-A787-955E-3E2011F503F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1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0F92D77-E698-FB0F-57C4-008FCCB809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717144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5CE7E261-3A04-0DCA-85FD-085143EBB18C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441AA305-1205-F4F2-58F9-5038321319C3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66EC6D1-6E52-C511-4A4C-3DE173031C14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52EABC1B-6F05-01E9-64D5-221A628707C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07147A7-EBF7-B2DA-3DE1-F1CD3FFA3BB3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61349931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AB867C-CF9A-8D4B-0B52-A33F77BF2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08B59D0-3988-CC36-CF2F-FECB9EE84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дм. и вспом. обслуживание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BA1B2891-F788-E639-85DB-ADC4F4FCE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0CCA7ED2-63FA-7BE2-A708-0EB5B1D9950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B82A0BD-BD92-DE45-2D47-324AA17FDB8D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2DEC033-530E-00CC-1960-620BB9B39C3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97CA38B-874B-5EDB-9911-FF13B20B1C67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E9FD6C2-2139-4BE4-7A15-3294FF09DB1A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38F3996-CD77-EF74-7A83-7391FA09AF2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5B7AE274-73C1-1C6C-7932-E6B13AF00872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735BF10F-50E9-1C87-43C2-838B8C6C71C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192DC6FB-7692-B769-E7FC-D294180111C0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32CD1E1-279B-5AC3-D60A-377B976A173E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55D10EA-F336-6C3B-D108-07F91936454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D2A85E71-1479-94BA-37E4-D8111397A738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343B9FC1-4621-7745-E6CA-31241294D49F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10E8BFDF-A3EE-88A7-5D13-04C6C528C0D0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FD01D545-7D75-5B4F-3D3D-D2F036DA823F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7AEAE65A-4A02-9E75-AD6A-CC82019C639D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08350B86-5F5A-4A7C-1A5C-63D92DF1EBCF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085832047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 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ллекторы и работники по сбору задолженностей и платеж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туризму и родственным занятия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ан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контрольно-пропускных пунк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монтаж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рузчики на склад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зготовители мясных и рыбных продуктов пит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животно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редитные аген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технических и инженерны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-мойщи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азоре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технолог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7219382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56CBCC2-16C4-E146-A04D-0C55D20849D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D555AEB-FD60-110E-2485-6189AC7F9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дм. и вспом. </a:t>
            </a:r>
            <a:r>
              <a:rPr lang="kk-KZ" dirty="0"/>
              <a:t>о</a:t>
            </a:r>
            <a:r>
              <a:rPr lang="ru-RU" dirty="0" err="1"/>
              <a:t>бслуживание</a:t>
            </a:r>
            <a:r>
              <a:rPr lang="en-US" dirty="0"/>
              <a:t> </a:t>
            </a:r>
            <a:r>
              <a:rPr lang="ru-RU" dirty="0"/>
              <a:t>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162DA43-AC97-B141-AD93-88B3ED1BE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4CF79254-E469-8BD6-7463-47FD27123BE3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621785A-04B3-588C-CF78-621F72E8497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3943CEF3-2BF9-ED7F-062F-8E96CAA6CD7E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2005AA66-A625-8EC8-833C-E43C88E287A0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D755724-65FA-A0C0-51DE-5A381D8F75C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72FEB87C-A140-0092-CC9F-C3FDAF3BC233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998117C-55B8-F9B9-69EE-AC3E07840372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0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цент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месленники по текстилю, коже, меху и похожим материал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монтаж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ллекторы и работники по сбору задолженностей и платеж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монтажники</a:t>
                      </a:r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зготовители мясных и рыбных продуктов пит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узчики на склад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животновод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землеройной и траншейной машин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туризму и родственным занятия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ран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добыче нефти и газ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ые аген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-мойщи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контрольно-пропускных пунк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ормозные рабочие, стрелочники и сигнал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технических и инженерны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механ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армены, буфетчики и официан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Газоре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на дому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над строителя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иТБ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51FB23B-043A-E5ED-F7C8-F3DFEEBF3EF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0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 2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3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7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6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5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0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7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5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D824A7BA-B0CF-632C-DF87-010238183DA9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4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223E5DE5-A5B2-0F1E-F03A-DBFEA0B608BE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5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4404F702-A2D9-5B47-C61A-2CC86A1BCE05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3C92A4CC-1F31-8E53-6475-CFCC57896EC4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335ED340-21B9-7A41-6ACF-4B5C2D45A918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AF26B9E-FEC7-61B4-123B-FAEF46FE4F57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0A1BC350-53B8-8498-5391-36DCF71A289F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5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942E4B1E-C96F-1AFC-E531-C8430DC8BF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9096012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2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CF17D7FF-B552-3D81-8BAE-E718974664F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6FF4B4E-A4D8-AFC2-2281-EBEE7662348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EDE0988-9FFE-2A27-8584-96178AAC7871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F0843D1F-59C2-EE45-FFC6-4BE00FDAF439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F67E61AA-D15D-C411-BA66-F631FEB6A8E3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43652351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275282-AA90-AB67-EB5A-8C8D058B5A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DACA681-4F9A-F441-DAB1-8B61E40EAE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ос. управление и соц. обеспечение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D8F26FF7-7BEC-4B49-2B13-D4BB1CF974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79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EEA264AC-476D-8B4D-8277-06A5FD0393E0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FCFDB96-DA8C-7118-B2DA-CA1C5A977B7A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FC437973-9353-0FD1-67E7-B954EA39B109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E6325AD8-E037-2E37-BB20-E473582F2B3C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C6C1331F-9953-7E53-F7B5-2184E9ED6D29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426C4C15-2778-92B3-ABC9-5D89B560AB43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BBD8618-EC4E-FDBB-30C7-00E36FF6D8A8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1015802F-C133-29C5-83AF-4C7A0FC6FBDC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709C2BBD-3A7F-E61A-4566-C8D2B5838E5F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170063E6-FE16-3EA1-179E-F1ACB5F47885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F985AEA-E3E7-79E4-E948-35E0A92F341B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1329D6CB-ECEC-64E1-8E37-D72B9A45428B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64E1AF74-DBAE-E185-8857-6AD4660D8D83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84C1C45D-8788-F30B-852E-A1E0E94AEFE3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E9C2E6BD-9688-857B-D76F-0A4F9A52BCBC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9DC0C8D8-62F4-E2F4-8271-3F144726E1E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2CCE737B-9FEF-1164-1E9A-ED26CE803CA5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494239179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4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3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0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аппараты акимов и маслиха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1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жарны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лицейск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дмгосслужащие Корпуса «Б»: ЦГ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, оказывающие государственные услу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социальной работ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атис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хивариус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пожарной машин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ас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лесохозяйственных подраздел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адмгосслужащ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содействию трудоустройств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152447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F117DC-E407-E43B-5622-298CA2316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F7F3A48-493B-63C0-CEAE-AA97F74E49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остребованные квалифицированные профессии (2025)*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B1DC974-F2A6-DF66-640B-9686F398BD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graphicFrame>
        <p:nvGraphicFramePr>
          <p:cNvPr id="19" name="Таблица 18">
            <a:extLst>
              <a:ext uri="{FF2B5EF4-FFF2-40B4-BE49-F238E27FC236}">
                <a16:creationId xmlns:a16="http://schemas.microsoft.com/office/drawing/2014/main" id="{327A6B04-4910-2319-DF41-42B7D8868CE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7076146"/>
              </p:ext>
            </p:extLst>
          </p:nvPr>
        </p:nvGraphicFramePr>
        <p:xfrm>
          <a:off x="72000" y="6114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 8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 5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1 0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7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спитатели в дошкольном образован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 7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 9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0 8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8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ботники по уходу за больным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 5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 4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5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2 3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чителя начальной школ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 8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0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 4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6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яни (в детском саду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 8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8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хранн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 9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0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5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 20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0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 2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0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одители и шоферы легковых автомобиле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 3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 3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1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4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 9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0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 2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4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сих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6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6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7 87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2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8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1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рапевты и врачи общей практ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6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0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8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4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ые учителя средней школ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6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4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3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давцы магазинов и их помощн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 6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0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4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ухгалтер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 8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 0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5 4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фисные служащие широкого профил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2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 8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6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2 2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0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ортивные тренеры и преподавател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5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5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6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3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екретари широкого профил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 0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1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2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1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 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 8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 8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9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ссиры и продавцы билет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 7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6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5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ые специалисты в области образова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9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1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 5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8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ые специалисты по методике обучения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8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 9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мощники учителе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3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9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3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иблиотекар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1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5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 3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енты по коммерческим продаж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3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4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7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 2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2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13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7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9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узыканты, певцы и композитор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7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6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2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7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7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8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2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купщики и снабженц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7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5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5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Штатные юрис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94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5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90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3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6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структоры по фитнесу и спорту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0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32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дмгосслужащие Корпуса «Б»: исполнительные органы регион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3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Бармены, буфетчики и официан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7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1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3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1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центр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1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9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2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1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24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8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3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диатры и неонат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8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4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ководители строительных подразделен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 41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7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5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4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0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6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кушеры и гинек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1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8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7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еподаватели музы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0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0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8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-технолог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9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8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49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жарные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5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50</a:t>
                      </a:r>
                    </a:p>
                  </a:txBody>
                  <a:tcPr marL="4300" marR="430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 по промышленной безопасности,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иТБ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81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A643E0BF-6CDE-F18C-75B4-7793F11054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7319958"/>
              </p:ext>
            </p:extLst>
          </p:nvPr>
        </p:nvGraphicFramePr>
        <p:xfrm>
          <a:off x="6132000" y="611457"/>
          <a:ext cx="5910475" cy="5786224"/>
        </p:xfrm>
        <a:graphic>
          <a:graphicData uri="http://schemas.openxmlformats.org/drawingml/2006/table">
            <a:tbl>
              <a:tblPr/>
              <a:tblGrid>
                <a:gridCol w="322389">
                  <a:extLst>
                    <a:ext uri="{9D8B030D-6E8A-4147-A177-3AD203B41FA5}">
                      <a16:colId xmlns:a16="http://schemas.microsoft.com/office/drawing/2014/main" val="1260547381"/>
                    </a:ext>
                  </a:extLst>
                </a:gridCol>
                <a:gridCol w="3132358">
                  <a:extLst>
                    <a:ext uri="{9D8B030D-6E8A-4147-A177-3AD203B41FA5}">
                      <a16:colId xmlns:a16="http://schemas.microsoft.com/office/drawing/2014/main" val="3580107653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709255155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374876946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64192839"/>
                    </a:ext>
                  </a:extLst>
                </a:gridCol>
                <a:gridCol w="613932">
                  <a:extLst>
                    <a:ext uri="{9D8B030D-6E8A-4147-A177-3AD203B41FA5}">
                      <a16:colId xmlns:a16="http://schemas.microsoft.com/office/drawing/2014/main" val="3417268793"/>
                    </a:ext>
                  </a:extLst>
                </a:gridCol>
              </a:tblGrid>
              <a:tr h="130117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№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36000" marR="0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4">
                  <a:txBody>
                    <a:bodyPr/>
                    <a:lstStyle/>
                    <a:p>
                      <a:pPr algn="ctr" rtl="0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  <a:endParaRPr lang="ru-KZ" sz="8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329669"/>
                  </a:ext>
                </a:extLst>
              </a:tr>
              <a:tr h="114407">
                <a:tc vMerge="1">
                  <a:txBody>
                    <a:bodyPr/>
                    <a:lstStyle/>
                    <a:p>
                      <a:pPr algn="ctr" rtl="0" fontAlgn="ctr"/>
                      <a:endParaRPr lang="ru-KZ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l" rtl="0" fontAlgn="ctr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0" marT="0" marB="0" anchor="ctr">
                    <a:lnL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24</a:t>
                      </a:r>
                      <a:endParaRPr lang="ru-KZ" sz="7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</a:rPr>
                        <a:t>2025 баз</a:t>
                      </a:r>
                      <a:endParaRPr lang="ru-KZ" sz="7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ED1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</a:rPr>
                        <a:t>2025 опт</a:t>
                      </a:r>
                      <a:endParaRPr lang="ru-KZ" sz="700" b="1" i="0" u="none" strike="noStrike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7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2025 </a:t>
                      </a:r>
                      <a:r>
                        <a:rPr lang="ru-RU" sz="700" b="1" i="0" u="none" strike="noStrike" dirty="0" err="1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</a:rPr>
                        <a:t>песс</a:t>
                      </a:r>
                      <a:endParaRPr lang="ru-KZ" sz="7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300" marR="4300" marT="430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183279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дмгосслужащи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Корпуса «Б»: аппараты акимов и маслихат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B05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418504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вр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050649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рачи в области лучевой диагност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52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4088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зработчики и тестировщики ПО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4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786873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по социальной работе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3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3706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арикмахер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9678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по подбору и использованию персонал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541854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ководители водо-, электро- и энергоснабжающих подразделен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2375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ервые руководители учреждений и организац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7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73566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.-педагогические работники ТиПО (образование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2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6991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налитики по маркетингу и исследованию рынк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1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32526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рачи в области общей хирург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5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7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843726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-сметч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5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640883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нцоры и хореограф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1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0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711236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по фармацевтической деятельност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0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9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15389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олицейские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6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974728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-строител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595945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сметологи, мастера маникюра, визажис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3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76703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нкологи и гемат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85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114221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енты по прочим коммерческим услуг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2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3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5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1709084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ндукторы и контролеры билет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1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95616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в области сестринского дел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6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32187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 по автоматизац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2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1727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ежиссеры и продюсер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4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7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1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04737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-энергет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7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006880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ужащие по содействию трудоустройству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4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1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3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949423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фтальм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7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366894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рхивариус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2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63946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-электрик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3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898700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 по механизации сельского хозяйства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2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31652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четоводы и помощники бухгалтер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39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6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90903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рди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9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5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61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0156232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Филологи, переводчики и другие лингвис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84954812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ужащие на складе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3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945158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по сопровождению ПО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6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2738833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ориноларинг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4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02124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чие водители легковых автомобилей, такси и фургонов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6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262782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уководители сельскохозяйственных подразделен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1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0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753978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нженеры-механики (общий профиль)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27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0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112260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нестезиологи и реаниматоло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18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7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9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0880516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по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74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65646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ециалисты по общественному здравоохранению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0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6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8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5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008870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редитные аналитик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3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44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294513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лефонисты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7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90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8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49507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лужащие, оказывающие государственные услуг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 0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3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6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4806287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рачи в области психиатрии и психотерапии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9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7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991691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етодисты по профессиональным программам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1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9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251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0536959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помогательный персонал в индустрии развлечени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4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12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7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9959380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оллекторы и работники по сбору задолженностей и платежей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1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4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8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63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408955"/>
                  </a:ext>
                </a:extLst>
              </a:tr>
              <a:tr h="11083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0" marT="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Агенты по операциям с недвижимостью</a:t>
                      </a:r>
                    </a:p>
                  </a:txBody>
                  <a:tcPr marL="72000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62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3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86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3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5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75</a:t>
                      </a:r>
                    </a:p>
                  </a:txBody>
                  <a:tcPr marL="9525" marR="9525" marT="0" marB="0" anchor="ctr">
                    <a:lnL w="63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CB2B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121446"/>
                  </a:ext>
                </a:extLst>
              </a:tr>
            </a:tbl>
          </a:graphicData>
        </a:graphic>
      </p:graphicFrame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AB8330C-6F26-6125-418C-B8228B731DE2}"/>
              </a:ext>
            </a:extLst>
          </p:cNvPr>
          <p:cNvSpPr txBox="1">
            <a:spLocks/>
          </p:cNvSpPr>
          <p:nvPr/>
        </p:nvSpPr>
        <p:spPr>
          <a:xfrm>
            <a:off x="72000" y="6376987"/>
            <a:ext cx="2595000" cy="213987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900" b="0" i="1" kern="0" dirty="0">
                <a:solidFill>
                  <a:srgbClr val="FF0000"/>
                </a:solidFill>
              </a:rPr>
              <a:t>* за исключением рабочих профессий</a:t>
            </a:r>
            <a:endParaRPr lang="ru-KZ" sz="900" b="0" i="1" kern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05540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49C7D8E-0B3D-607C-AF35-96872C890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F4BD7D-BDCD-A573-F7AD-1737BE81D6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Гос. управление и соц. обеспечение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DD20592-CC40-6DF9-D6D2-643E31E4A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0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11ECEA8C-4D0E-FE49-A8D5-22289CE0B07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07A34D0-55DF-0C71-D573-7EE38ABE0AE8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B94A7D52-0983-E159-979F-F6F069E3CB9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FE877CD-2FDA-9E82-54EF-85A70BAB1D1F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8F8981A1-7962-6D18-105B-01F7D17FFDF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DCD32E12-C477-855F-B491-469E25B149B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15EF5D5-15AD-4BAB-3E3A-AB394C35C5F8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7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подразделения ЦГО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районные исполнительные орган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 Корпуса «Б»: исполнительные органы регион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аппараты акимов сел, поселк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аппараты акимов и маслиха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есоводы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жарны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лицейск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в растениеводств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социальной работ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дмгосслужащие Корпуса «Б»: ЦГО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, оказывающие государственные услу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аса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рмеры и рабочие смешанной растениеводческ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атис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ракто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пожарной машин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адмгосслужащ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ивариус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ригадиры по металлообработке и обслуживанию оборуд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контролю каче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енеры по промышленной безопасности, ОТиТБ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лигиозные дея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лесохозяйственны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F2A3361D-474B-6160-0F5B-7AD186255ABF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1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6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 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 2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1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1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7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 7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6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6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1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4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6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7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6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3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6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FF22A0F7-FC85-6335-9676-F3D87D4A33DC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8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7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DEE8FCBA-42C6-A3AA-9D52-DF06632551B1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9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84415EFF-A036-22ED-522C-F7593F44A80B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D6774FF-874A-252C-40D3-118BC288042A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9A40108D-A940-F2F6-1432-35635891CCD0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76,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A06D72E8-9A97-1309-3CF2-061C68C36C18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48C9BF03-77FD-3FF3-CA9F-E294C3408192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2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3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6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6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0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A8E2695-6982-8D08-C8F3-F41E21C1AFC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8333377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3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1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6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B586058C-9EC6-FDF1-4CE3-1E1CEE94FE5E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FF4205A4-6128-8CEC-6B47-8672F1E348D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3D10B8BA-B377-ED47-BB67-74FD5D558B27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CA851653-0693-020C-2319-CAD05994F93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39E6311-9A7E-7D5A-06D0-CC538210C68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1287908154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50798B-5D40-95BB-1D8D-CD398A5B4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63674F-7394-2C79-FABC-F9300BFDC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ование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EB37E711-7949-3F16-373E-D904B3B7C7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1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2FFCCC5F-F7B6-2EAB-553A-0C4F5BAEE548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27800081-32B1-6CC2-82CF-3EBCD16BFCD3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6F21835-E126-DCEB-13FE-2C78776EDFAA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CBF3333D-C605-6E8C-8E30-775EDF8B908D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D5E7F46F-EFE6-9E14-2C73-7DBEE6DD2734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333C1CD-2E36-44C7-44EB-4F518F26E33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CFCEAA6-E70D-E46A-233A-836031EF10D5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336043D-4DF1-F379-9151-BB01FCC87B92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0AD1FEFA-ACCE-BFCA-8F48-5F1334A68665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370CDE32-0BE2-635D-F157-BD4A82BD5387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E749469B-3C9A-CED7-D7D7-D90163F522BC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6F95D77E-5F9B-E664-244F-F2F92BAB614F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1A23C3DD-C0C8-E856-AD91-2D5554C29B63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AB7D1871-F7C2-2C0E-C8C0-2711CEF1C379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BAD2537A-32C0-3E29-1600-C0AAEE423E9C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240D73B1-51A3-2C18-6CC8-11AFAFB6C09A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F3E2A49F-DA5E-C710-4003-109493A19224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36819237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 3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4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3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3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2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0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7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6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4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учителя средне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0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7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 37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7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1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4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1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9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5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 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9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6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учи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3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2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 0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8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6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4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2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музы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8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3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ачки и гладильщицы вручну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ж.-педагогические работники ТиПО (образование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етодисты по профессиональным программ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лот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5612874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3D7694-3E23-C4C4-B6E3-727E9598F3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295148-3242-67AB-10FF-FD7BAED7F6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ование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6163B31-27B2-5BA2-FD92-066ABC99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2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FB876E91-39C0-EAFF-F3F1-1F821F2CA3DF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EBD2B747-B444-B75F-06DC-D391A33C6F26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C24FB9C-15DF-B90F-3CA2-E54C2D95303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77F36DAA-BD9F-AFD3-0887-310760074833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0D32D38A-7F3C-F115-BEAA-3F29C342387A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2706218E-ACDB-D382-4430-A977D4FFEEB2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C2949E27-E944-467D-DEB7-5C830509D5B1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9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 3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2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3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6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5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 6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7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9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яни (в детском саду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8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5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естественным наук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 0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8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математическим наук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96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учителя средней школ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2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9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6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9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8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в сфере образ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7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техническим наук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8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5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1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6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в области образ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0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7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3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учи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9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9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3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3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6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9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музы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ж.-педагогические работники ТиПО (образование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ачки и гладильщицы вручну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лот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етодисты по профессиональным программ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сельскохозяйственных подраздел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136BB0D3-243A-901F-F35F-64D5EF975253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 4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 6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51 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0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5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9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8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8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 2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 5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 5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6 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 3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 7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 1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66 5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 2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 0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7 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 0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 5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 6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 8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2 0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0403A57-8431-C02D-08D8-BB2AF8560987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416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36B1A28F-9380-D278-FB93-6902D926F002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51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1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5F8AB2C4-7061-E177-656C-FCD825A2B8F3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067516AF-245E-FC57-90B5-040518971F23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039DC90F-4246-1741-0E1A-EEEF94EAD30E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17,8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4D3F98C7-B9FA-7B35-1A2B-75095D7410E0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2B5349B4-D2A5-4F49-6796-5F414C3C03ED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8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1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5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9 3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0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4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6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3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1 3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4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 8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 5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62CA666C-A4F8-41A2-4A83-7B9A44B059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0292685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1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2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3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3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1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 9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3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7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3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8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7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7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5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6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0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 0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0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3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9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8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4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7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8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9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8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5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8 9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4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3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3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7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2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0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9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0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6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6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6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38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C9AFC85E-A362-8F4D-2DFE-4A209C94FFF6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EB67A320-090E-6867-1290-F6C564AD5E88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1EA54C17-6D54-413C-1B05-F1468C5DB826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228FE0A4-34CA-9E98-6F98-0442A728AA4D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8241528-5FBD-C42C-2C20-451D2B78755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428028070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2DC18F-72B2-B8FB-EFB6-3E6279B4F9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2B83CA5-FF27-E8E9-A5C8-0F773D3619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дравоохранение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01CEB0AF-DDF8-2BC1-8194-AB5BE7557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3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DB52C6D-E9B2-A3DC-9790-B734A819BFA9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02B8BA9A-ACF0-8747-2307-91BC7B433BA8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B2B9437A-2A9B-9E64-3A02-7ED027772594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DE223431-CC86-471B-991B-263A63B7ECE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0A42EFA-2F37-F836-4773-E256ADA85393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6A72EE2-13C6-D830-589F-BADF191749DE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81196417-C11A-8EA9-624D-986D32F13BFA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17C84D9-3C02-3B32-D3ED-39A75CDBED2F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C3B9B36-2E0E-4CF3-7F68-5D7596E5AD19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5AF42894-0908-DC66-69B7-995C260D5B71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C269CA95-485B-DD41-6B42-8A60DDADF3A5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0DA3F560-1E07-A125-2B81-4FEC37F43611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D1BC9756-0E00-B8CB-3A53-017FDE8AF683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5A250C83-D3BD-D195-C2FF-9DDF0024CAE2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121FBE70-E9BD-7616-7696-CA22118F47D5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3E97413B-5A73-5B0F-E11E-0412BEBB20C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EFB84E5-3FC2-E30B-9B6B-7E6D2102C852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04391763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95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 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 24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ельдш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84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едиатры и неонат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40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ушеры и гинек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акушерств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микро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9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ачи в области лучевой диагност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вр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5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4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ачи в области общей хиру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естезиологи и реанимат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7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нкологи и гемат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тальм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рди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общественному здравоохране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ой средний медицинский персонал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ориноларинг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ачи в области психиатрии и психотерап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2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ачи в области стоматоло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в области сестринского дел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фармацевтической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медицинской информа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ачи в области медицинской реабилита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рачи в области травматологии-ортопед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фекцион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Эндокрин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работе с клиента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фармацевты и помощники фармацев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санитарно-эпидемиологической служб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9054163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3B7A51-2ACB-4D5F-1FDC-B6377B6F73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78DF39F-5A54-9DFA-4564-6D62A01936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Здравоохранение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A4A195CC-787E-4DD7-D15C-2437F7B1A2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4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3455C89C-A1AA-D73B-9D85-5D2BD718E029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953DE355-440C-D714-871B-07B0CFEB1F00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BC29245-6E3D-22F3-96E0-F855E387D4C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5C987203-C49D-F573-BEC6-2A963FCB37DE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652E4C04-77B0-CEFF-5BE1-E29048061578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12D78B1F-3AF0-6ED5-CBE6-B0F949BF333E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06594D2-4EC4-E1A4-D18F-20E03D58881A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 9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8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0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 0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7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рапевты и врачи общей прак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2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ельдш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1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едиатры и неонат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ушеры и гинек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акушерств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7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рачи в области лучевой диагност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0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вр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микроавтобус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сих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0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рачи в области общей хирур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нкологи и гемат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ди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2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тальм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5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естезиологи и реанимат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общественному здравоохране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ной средний медицинский персонал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ориноларинг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в области сестринского дел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фармацевтической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рачи в области стоматоло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рачи в области психиатрии и психотерап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медицинской информа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рачи в области медицинской реабилита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рачи в области травматологии-ортопед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ндокринолог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фекцион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фармацевты и помощники фармацев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санитарно-эпидемиологической служб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в области химических и физических наук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6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работе с клиента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CE6E03D5-CBAF-E1E9-D6FB-8CB0E1617926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 9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6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7 8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9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7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1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0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4 1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1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1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 6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2 9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03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9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 53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 73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7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6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1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2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4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3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 0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5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 8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9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7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2CD41FB6-4FCA-6346-14E6-7DC2F0A4FB96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42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0C346132-9602-E57B-2C51-7B24BAF153E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17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9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BE6A4EFB-ED19-9680-5F1B-570DF9C28036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4DD1050-8FBE-F7D2-2493-73560BB72A65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DEEC7155-3477-7E7A-7731-699D6CF2EDFB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104,5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F4FA573F-DEAB-C746-F68F-1E6A68923F6E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627B55F5-8DBC-80DE-F875-293A63DFF9AB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7 5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8 8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2 0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4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5 7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3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5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 8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 9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2 8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6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84E699CC-DC69-1232-1C59-DFC05524C5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2574042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1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3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7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8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7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5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4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3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9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5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0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5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9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2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1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5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7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3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4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7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4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2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09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8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6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4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7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FC7AC466-6D6B-1C0D-0B58-977011D6285F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732022C3-93CD-1BE0-2AAB-85A0025D6350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0049794-963D-A323-99BA-C1115A94058B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D04996BA-8296-6428-D89B-C3F481004F89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B24219E1-34EA-BB9F-7B7E-7FD4F340AF8A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866300679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82E85A-5E53-DCE0-4692-451BA25DA4F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F7AF03E-5734-D392-7EA8-ABAE07490A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кусство и развлечения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1714956-6782-AD79-3989-ED37469769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5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6BDE80F-F33B-3756-4A6E-064AF24CD3D3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82658ED4-7B4C-3487-FDD0-4AAB21C002A9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1E0827B2-9991-43D1-8ADB-0E802C3B6F82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4926A82E-515D-65AD-7C21-9AAAC34F6C26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96607C5-233A-56C8-F133-F91E2A808F3D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E33AE358-5B25-91F4-DB36-D0A517CFFDB2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7B3B65B-0AD0-9D2C-3B64-5D057625CC0C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694F857F-8F95-C241-0DD0-8E0573A40247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5DAE16B5-7882-70DF-5761-A306CB21A446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179AB337-EA2A-E3AE-21BF-C565F1E8340E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67C1ED0F-AA0C-EF26-D907-8362B428F4E3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3D8303D9-52F6-110E-C113-D5D320E9892E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515086B8-321C-8632-A4FF-C82403D746C0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CE1F2A36-55D3-52F9-761F-DC81E78CEEB6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D14FCFBC-4FA3-CBE7-93FB-FC814B167811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47664A06-627E-4A6B-2FBC-70498C400147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7E946146-75DA-CE5F-12D8-114221C961C6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3433955705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9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86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63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иблиотекар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16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6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ежиссеры и продюс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анцоры и хореограф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в индустрии развлеч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услугам развлечений и отдых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к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рхивариус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роители-отделочник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служащ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автобус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иды и экскурсовод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ые специалисты по методике обучения.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Закупщики и снабженц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стор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Художники и скульпто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художественных галерей и музее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льцовщ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жарны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содействию трудоустройств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работчики и тестировщики ПО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ракто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1338842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6092CD-D556-8D3A-42F0-A4CA35D60A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DF09094-B230-86B7-0CE5-094A677AE7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скусство и развлечения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666399A9-5524-A0D0-640C-3EC6ACEC80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6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E040C57-7FFB-743A-4FC0-D57C258CF028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7F530F52-51A1-1E16-34DE-D9474852A671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9584B272-62D0-125D-8992-4109852C4A30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FCDC6AB2-ACDD-1F72-4A2F-50ACC6A3A181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F3338FB1-8159-73BD-2D8B-2F80433A1B87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E050877E-A432-D7C5-08C2-8351CDEB1E35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91F77D6E-2F30-F441-66FC-2ED3BF67A91E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узыканты, певцы и композито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2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0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6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4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9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иблиотекар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бойлеров и паровых машин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8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анцоры и хореограф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жиссеры и продюс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8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в индустрии развлеч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услугам развлечений и отдых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ивариус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служащ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оители-отделочник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автобус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пекторы строительства, по контролю качества и ОТ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-электрики (общий профиль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бюджетному планированию и анализ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альцов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ункциональные руководители по бюджету и финанс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упервайзеры по документообороту и офисным работ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абочие по техническому обслуживанию зданий и сооруж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стор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ководители подразделений по ины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иды и экскурсовод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купщики и снабженц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Художники и скульпто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художественных галерей и музее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ые специалисты по методике обучени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жарны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нструкторы по фитнесу и спорт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ндукторы и контролер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содействию трудоустройств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8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4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варщ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EE71C87C-74AD-D6C8-DA46-8B49C1F55EDE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8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7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0 1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9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6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39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0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 0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8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5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68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3 2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8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7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6 4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5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7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2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2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2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8 2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1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5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0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8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7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8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8FCE91FE-A360-1D02-F09E-249B4084E95F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3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E722740B-642C-5B1B-DB05-4E719BC2ADF7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30</a:t>
            </a:r>
            <a:r>
              <a:rPr lang="en-US" sz="2000" b="1" dirty="0">
                <a:solidFill>
                  <a:schemeClr val="bg1"/>
                </a:solidFill>
              </a:rPr>
              <a:t>,</a:t>
            </a:r>
            <a:r>
              <a:rPr lang="ru-RU" sz="2000" b="1" dirty="0">
                <a:solidFill>
                  <a:schemeClr val="bg1"/>
                </a:solidFill>
              </a:rPr>
              <a:t>2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BFF53049-08D6-C161-5B0C-2FEE76B49E5F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F917794D-6AE1-1C01-FCE6-EBCA2877B817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6230540D-B463-CD9E-33AD-7885C9A98F83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28,3</a:t>
            </a:r>
            <a:r>
              <a:rPr lang="en-US" sz="2000" b="1" dirty="0">
                <a:solidFill>
                  <a:schemeClr val="bg1"/>
                </a:solidFill>
              </a:rPr>
              <a:t>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92EFA175-0275-C7A5-D55F-2F2DF7FC79BE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474E6E8C-0A4B-496D-3D39-994EFCD02926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8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10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 1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05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2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8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 1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87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4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86680D6B-D2AB-63CB-858C-D227DA8A5A62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3450798C-762B-4246-6EAC-7E1073BF31DE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D3FFB640-7BA8-7136-9D1B-F21D84AB2A23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CC319BEE-F81A-3BD4-E0A6-22BB20896B84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98D108AD-79B4-CDCC-02DB-1E8D5DB69819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FC0600FC-7734-5D77-0C4F-D9154016255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941745"/>
              </p:ext>
            </p:extLst>
          </p:nvPr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4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8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12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0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2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6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02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4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7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8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3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3280898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2C94C82-3286-C592-CBA2-801FF67720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AC865D9-BEBD-C65D-5B75-875508A7C6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чие индивидуальные услуги (факт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73D247A-4C2B-0C1E-3231-21D2D99609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7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5D16C985-4F9B-771B-3BFD-5CDD0EEE2B34}"/>
              </a:ext>
            </a:extLst>
          </p:cNvPr>
          <p:cNvSpPr txBox="1">
            <a:spLocks/>
          </p:cNvSpPr>
          <p:nvPr/>
        </p:nvSpPr>
        <p:spPr>
          <a:xfrm>
            <a:off x="229163" y="635030"/>
            <a:ext cx="3188785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Динамика вакансий (2023-2024)</a:t>
            </a:r>
            <a:endParaRPr lang="ru-KZ" sz="1400" kern="0" dirty="0"/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E4632961-EC4C-A55E-0098-BBF6B7CD56FA}"/>
              </a:ext>
            </a:extLst>
          </p:cNvPr>
          <p:cNvSpPr txBox="1">
            <a:spLocks/>
          </p:cNvSpPr>
          <p:nvPr/>
        </p:nvSpPr>
        <p:spPr>
          <a:xfrm>
            <a:off x="229163" y="2853097"/>
            <a:ext cx="3188786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регионам (2024)</a:t>
            </a:r>
            <a:endParaRPr lang="ru-KZ" sz="14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502A78E2-558A-EF8E-0B68-8F21E31BA09C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6043ED80-2FB1-6042-D4E7-98617AC44672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ED019E9F-F1B0-9DC4-8132-A31AFB6FD932}"/>
              </a:ext>
            </a:extLst>
          </p:cNvPr>
          <p:cNvSpPr txBox="1">
            <a:spLocks/>
          </p:cNvSpPr>
          <p:nvPr/>
        </p:nvSpPr>
        <p:spPr>
          <a:xfrm>
            <a:off x="3730146" y="635030"/>
            <a:ext cx="3899139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Категории профессий (2024)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2D0A81FD-ECAE-4E07-F669-8C9F04F63DFD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Структура по группам занятий (2024)</a:t>
            </a:r>
            <a:endParaRPr lang="ru-KZ" sz="14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344C8F84-22FE-4200-92DB-51B378EA85FF}"/>
              </a:ext>
            </a:extLst>
          </p:cNvPr>
          <p:cNvSpPr txBox="1">
            <a:spLocks/>
          </p:cNvSpPr>
          <p:nvPr/>
        </p:nvSpPr>
        <p:spPr>
          <a:xfrm>
            <a:off x="7598548" y="635030"/>
            <a:ext cx="4517252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400" kern="0" dirty="0"/>
              <a:t>Наиболее востребованные профессии (2024)</a:t>
            </a:r>
            <a:endParaRPr lang="ru-KZ" sz="1400" kern="0" dirty="0"/>
          </a:p>
        </p:txBody>
      </p:sp>
      <p:graphicFrame>
        <p:nvGraphicFramePr>
          <p:cNvPr id="13" name="Диаграмма 12">
            <a:extLst>
              <a:ext uri="{FF2B5EF4-FFF2-40B4-BE49-F238E27FC236}">
                <a16:creationId xmlns:a16="http://schemas.microsoft.com/office/drawing/2014/main" id="{87D5B156-1BBC-8F05-AEC9-A1DBCF774808}"/>
              </a:ext>
            </a:extLst>
          </p:cNvPr>
          <p:cNvGraphicFramePr/>
          <p:nvPr/>
        </p:nvGraphicFramePr>
        <p:xfrm>
          <a:off x="184347" y="1066800"/>
          <a:ext cx="3188786" cy="16338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9A22976B-737A-9F78-877D-DC156F952CAD}"/>
              </a:ext>
            </a:extLst>
          </p:cNvPr>
          <p:cNvGraphicFramePr/>
          <p:nvPr/>
        </p:nvGraphicFramePr>
        <p:xfrm>
          <a:off x="184346" y="3181383"/>
          <a:ext cx="3333553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Диаграмма 16">
            <a:extLst>
              <a:ext uri="{FF2B5EF4-FFF2-40B4-BE49-F238E27FC236}">
                <a16:creationId xmlns:a16="http://schemas.microsoft.com/office/drawing/2014/main" id="{0356BF93-E514-4B13-845D-BEE5A38CCE8B}"/>
              </a:ext>
            </a:extLst>
          </p:cNvPr>
          <p:cNvGraphicFramePr/>
          <p:nvPr/>
        </p:nvGraphicFramePr>
        <p:xfrm>
          <a:off x="3599180" y="952500"/>
          <a:ext cx="3050540" cy="18824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Заголовок 1">
            <a:extLst>
              <a:ext uri="{FF2B5EF4-FFF2-40B4-BE49-F238E27FC236}">
                <a16:creationId xmlns:a16="http://schemas.microsoft.com/office/drawing/2014/main" id="{DD1A27A7-666D-065B-D355-85D94A04C7ED}"/>
              </a:ext>
            </a:extLst>
          </p:cNvPr>
          <p:cNvSpPr txBox="1">
            <a:spLocks/>
          </p:cNvSpPr>
          <p:nvPr/>
        </p:nvSpPr>
        <p:spPr>
          <a:xfrm>
            <a:off x="6089650" y="1160463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Рабочи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19" name="Заголовок 1">
            <a:extLst>
              <a:ext uri="{FF2B5EF4-FFF2-40B4-BE49-F238E27FC236}">
                <a16:creationId xmlns:a16="http://schemas.microsoft.com/office/drawing/2014/main" id="{BBE4D58E-0450-5774-E2F0-AFF1685855D3}"/>
              </a:ext>
            </a:extLst>
          </p:cNvPr>
          <p:cNvSpPr txBox="1">
            <a:spLocks/>
          </p:cNvSpPr>
          <p:nvPr/>
        </p:nvSpPr>
        <p:spPr>
          <a:xfrm>
            <a:off x="6089650" y="1415256"/>
            <a:ext cx="1644410" cy="23436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100" b="0" kern="0" dirty="0">
                <a:latin typeface="Arial Narrow" panose="020B0606020202030204" pitchFamily="34" charset="0"/>
              </a:rPr>
              <a:t>Иные профессии</a:t>
            </a:r>
            <a:endParaRPr lang="ru-KZ" sz="1100" b="0" kern="0" dirty="0">
              <a:latin typeface="Arial Narrow" panose="020B0606020202030204" pitchFamily="34" charset="0"/>
            </a:endParaRPr>
          </a:p>
        </p:txBody>
      </p:sp>
      <p:sp>
        <p:nvSpPr>
          <p:cNvPr id="22" name="Заголовок 1">
            <a:extLst>
              <a:ext uri="{FF2B5EF4-FFF2-40B4-BE49-F238E27FC236}">
                <a16:creationId xmlns:a16="http://schemas.microsoft.com/office/drawing/2014/main" id="{E0445544-8DEE-A67B-730F-4D402C6D0F2A}"/>
              </a:ext>
            </a:extLst>
          </p:cNvPr>
          <p:cNvSpPr txBox="1">
            <a:spLocks/>
          </p:cNvSpPr>
          <p:nvPr/>
        </p:nvSpPr>
        <p:spPr>
          <a:xfrm>
            <a:off x="5982493" y="1177132"/>
            <a:ext cx="166688" cy="201028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59E04EC1-60C1-7BBA-CD11-F12FC591F9CF}"/>
              </a:ext>
            </a:extLst>
          </p:cNvPr>
          <p:cNvSpPr txBox="1">
            <a:spLocks/>
          </p:cNvSpPr>
          <p:nvPr/>
        </p:nvSpPr>
        <p:spPr>
          <a:xfrm>
            <a:off x="5982493" y="1431925"/>
            <a:ext cx="166688" cy="201028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endParaRPr lang="ru-KZ" sz="1100" kern="0" dirty="0"/>
          </a:p>
        </p:txBody>
      </p:sp>
      <p:graphicFrame>
        <p:nvGraphicFramePr>
          <p:cNvPr id="30" name="Диаграмма 29">
            <a:extLst>
              <a:ext uri="{FF2B5EF4-FFF2-40B4-BE49-F238E27FC236}">
                <a16:creationId xmlns:a16="http://schemas.microsoft.com/office/drawing/2014/main" id="{50CD794F-7B52-74AD-724F-736D1D507F84}"/>
              </a:ext>
            </a:extLst>
          </p:cNvPr>
          <p:cNvGraphicFramePr/>
          <p:nvPr/>
        </p:nvGraphicFramePr>
        <p:xfrm>
          <a:off x="5359400" y="3181383"/>
          <a:ext cx="2321560" cy="33337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1" name="Таблица 30">
            <a:extLst>
              <a:ext uri="{FF2B5EF4-FFF2-40B4-BE49-F238E27FC236}">
                <a16:creationId xmlns:a16="http://schemas.microsoft.com/office/drawing/2014/main" id="{F4A28975-2B5B-E21C-206C-7C75BC09ADE9}"/>
              </a:ext>
            </a:extLst>
          </p:cNvPr>
          <p:cNvGraphicFramePr>
            <a:graphicFrameLocks noGrp="1"/>
          </p:cNvGraphicFramePr>
          <p:nvPr/>
        </p:nvGraphicFramePr>
        <p:xfrm>
          <a:off x="3893679" y="3259133"/>
          <a:ext cx="1522870" cy="293529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22870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</a:tblGrid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26144">
                <a:tc>
                  <a:txBody>
                    <a:bodyPr/>
                    <a:lstStyle/>
                    <a:p>
                      <a:pPr algn="r" fontAlgn="b"/>
                      <a:r>
                        <a:rPr lang="ru-RU" sz="7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T w="6350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E7F919B9-A862-23CA-50CE-39979E7C632D}"/>
              </a:ext>
            </a:extLst>
          </p:cNvPr>
          <p:cNvGraphicFramePr>
            <a:graphicFrameLocks noGrp="1"/>
          </p:cNvGraphicFramePr>
          <p:nvPr/>
        </p:nvGraphicFramePr>
        <p:xfrm>
          <a:off x="7836455" y="991713"/>
          <a:ext cx="4068000" cy="5440680"/>
        </p:xfrm>
        <a:graphic>
          <a:graphicData uri="http://schemas.openxmlformats.org/drawingml/2006/table">
            <a:tbl>
              <a:tblPr/>
              <a:tblGrid>
                <a:gridCol w="3528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54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</a:tblGrid>
              <a:tr h="103491"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аименование професс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акансий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768021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 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7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знорабочи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 8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 0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арикмах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1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осильщики, кроме оте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помещен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мощники на кухн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вар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Бухгалтер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Массажисты (не медицинский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ртовые груз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ассиры и продавцы билет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7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екретари широкого проф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борщики в офиса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социальной работе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лужащие </a:t>
                      </a:r>
                      <a:r>
                        <a:rPr lang="en-US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all-</a:t>
                      </a: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цент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Штатные юрист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урьеры на автомобилях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антехники и трубопроводч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сихолог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2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хран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очие автослесари и автомеханик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реподаватели в области специального образования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Учителя начальной школы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349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Няни (в детском саду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</a:t>
                      </a:r>
                    </a:p>
                  </a:txBody>
                  <a:tcPr marL="0" marR="0" marT="0" marB="0" anchor="b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230203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5A6EBE-4BC8-7B57-D306-E5FEE8B3E8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A3E78E2-00EB-349E-A471-8D34FC09B3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очие индивидуальные услуги (прогноз)</a:t>
            </a:r>
            <a:endParaRPr lang="ru-KZ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838438BB-8065-D72C-0830-6785BAAC06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060C6F1-8618-4CCA-B45E-7B199C8F5830}" type="slidenum">
              <a:rPr lang="ru-RU" smtClean="0"/>
              <a:pPr/>
              <a:t>88</a:t>
            </a:fld>
            <a:r>
              <a:rPr lang="en-US" dirty="0"/>
              <a:t> </a:t>
            </a:r>
            <a:r>
              <a:rPr lang="ru-RU" dirty="0"/>
              <a:t>из 87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CDA5053D-99B5-3607-5C19-4932A05D18B1}"/>
              </a:ext>
            </a:extLst>
          </p:cNvPr>
          <p:cNvSpPr txBox="1">
            <a:spLocks/>
          </p:cNvSpPr>
          <p:nvPr/>
        </p:nvSpPr>
        <p:spPr>
          <a:xfrm>
            <a:off x="184347" y="2853097"/>
            <a:ext cx="3278418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регионам</a:t>
            </a:r>
            <a:endParaRPr lang="ru-KZ" sz="1100" kern="0" dirty="0"/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38FE6E14-4A35-9191-8338-59C3C5A8019D}"/>
              </a:ext>
            </a:extLst>
          </p:cNvPr>
          <p:cNvCxnSpPr/>
          <p:nvPr/>
        </p:nvCxnSpPr>
        <p:spPr>
          <a:xfrm>
            <a:off x="3621657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AB0A0B27-DE21-08BE-092B-BB0A718C3958}"/>
              </a:ext>
            </a:extLst>
          </p:cNvPr>
          <p:cNvCxnSpPr/>
          <p:nvPr/>
        </p:nvCxnSpPr>
        <p:spPr>
          <a:xfrm>
            <a:off x="7695960" y="974785"/>
            <a:ext cx="0" cy="5339751"/>
          </a:xfrm>
          <a:prstGeom prst="line">
            <a:avLst/>
          </a:prstGeom>
          <a:ln>
            <a:solidFill>
              <a:srgbClr val="1434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01AF5238-04C8-926D-50FD-308F79AE08CB}"/>
              </a:ext>
            </a:extLst>
          </p:cNvPr>
          <p:cNvSpPr txBox="1">
            <a:spLocks/>
          </p:cNvSpPr>
          <p:nvPr/>
        </p:nvSpPr>
        <p:spPr>
          <a:xfrm>
            <a:off x="3730146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Категории по кварталам</a:t>
            </a:r>
            <a:endParaRPr lang="ru-KZ" sz="1400" kern="0" dirty="0"/>
          </a:p>
        </p:txBody>
      </p:sp>
      <p:sp>
        <p:nvSpPr>
          <p:cNvPr id="10" name="Заголовок 1">
            <a:extLst>
              <a:ext uri="{FF2B5EF4-FFF2-40B4-BE49-F238E27FC236}">
                <a16:creationId xmlns:a16="http://schemas.microsoft.com/office/drawing/2014/main" id="{C7B03BCE-2986-9436-DF18-0CEE7D8C4564}"/>
              </a:ext>
            </a:extLst>
          </p:cNvPr>
          <p:cNvSpPr txBox="1">
            <a:spLocks/>
          </p:cNvSpPr>
          <p:nvPr/>
        </p:nvSpPr>
        <p:spPr>
          <a:xfrm>
            <a:off x="3730147" y="2853097"/>
            <a:ext cx="3899140" cy="404486"/>
          </a:xfrm>
          <a:prstGeom prst="rect">
            <a:avLst/>
          </a:prstGeom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Структура по группам занятий</a:t>
            </a:r>
            <a:endParaRPr lang="ru-KZ" sz="1200" kern="0" dirty="0"/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0A227B26-DF41-C096-93D3-4614DD08B311}"/>
              </a:ext>
            </a:extLst>
          </p:cNvPr>
          <p:cNvSpPr txBox="1">
            <a:spLocks/>
          </p:cNvSpPr>
          <p:nvPr/>
        </p:nvSpPr>
        <p:spPr>
          <a:xfrm>
            <a:off x="7598548" y="701705"/>
            <a:ext cx="4517252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Наиболее востребованные профессии</a:t>
            </a:r>
            <a:endParaRPr lang="ru-KZ" sz="1200" kern="0" dirty="0"/>
          </a:p>
        </p:txBody>
      </p:sp>
      <p:graphicFrame>
        <p:nvGraphicFramePr>
          <p:cNvPr id="34" name="Таблица 33">
            <a:extLst>
              <a:ext uri="{FF2B5EF4-FFF2-40B4-BE49-F238E27FC236}">
                <a16:creationId xmlns:a16="http://schemas.microsoft.com/office/drawing/2014/main" id="{5FDAB003-2404-9916-8861-170D4CEB73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9480697"/>
              </p:ext>
            </p:extLst>
          </p:nvPr>
        </p:nvGraphicFramePr>
        <p:xfrm>
          <a:off x="7836455" y="1001758"/>
          <a:ext cx="3672000" cy="5494300"/>
        </p:xfrm>
        <a:graphic>
          <a:graphicData uri="http://schemas.openxmlformats.org/drawingml/2006/table">
            <a:tbl>
              <a:tblPr/>
              <a:tblGrid>
                <a:gridCol w="2592000">
                  <a:extLst>
                    <a:ext uri="{9D8B030D-6E8A-4147-A177-3AD203B41FA5}">
                      <a16:colId xmlns:a16="http://schemas.microsoft.com/office/drawing/2014/main" val="4024050736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1783857507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582694909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3489042958"/>
                    </a:ext>
                  </a:extLst>
                </a:gridCol>
              </a:tblGrid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ворники и уборщики открытых территор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2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0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44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5501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зно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8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5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21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8145159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чие неквалифицированные рабочи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5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67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7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5475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обрабатывающей промышлен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85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4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1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327741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рикмах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26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662909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фисные служащие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172607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метологи, мастера маникюра, визаж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69227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и и реставраторы одежды и ткан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797208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по организации и ведению социальной рабо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45519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сильщики, кроме оте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0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5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40021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мощники на кухн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3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319202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торожи и рабочие родственных занят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0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23084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коммерческим продаж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594775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ар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1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260171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ссажисты (не медицинский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796191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помещен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63700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родавцы магазинов и их помощ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515372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ортовые груз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537777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ортивные тренеры и преподавател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51172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спомогательный персонал адм.-упр. деятельност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0016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ухгалтер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388289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выработке электроэнерг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470027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сельского хозяйств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6812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ссиры и продавцы билет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75475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социальной работе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1650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ьеры на автомобиля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104519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кретари широкого проф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8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1920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и шоферы легковых автомобиле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11786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генты по прочим коммерческим услуг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1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734835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ужащие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Call-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цент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023040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рничная по обслуживанию номеров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29580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аботники по уходу за больны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7818880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борщики в офисах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972293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Фумигаторщики</a:t>
                      </a:r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и рабочие по борьбе с вредителями и сорнякам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397114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одители грузового автомобиля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5358551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начальной школ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0978464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ндитеры и изготовители кондитерских изделий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7532129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антехники и трубопроводч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062733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Техники по компьютерному аппаратному обеспечению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523637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редний медицинский персонал по уходу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748813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Штатные юристы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607153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налитики по маркетингу и исследованию рынка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521850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ляры и художники внутренней отделки зданий (интерьера)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0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77940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чителя средней школы по общественным наукам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4397710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о текстильной, меховой и кожаной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715712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ераторы прачечных машин и химической чист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2868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359638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хранник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9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508570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еквалифицированные рабочие по строительству и ремонту дорог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8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8103226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пециалисты по рекламе и продвижению продукц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4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5253163"/>
                  </a:ext>
                </a:extLst>
              </a:tr>
              <a:tr h="109886">
                <a:tc>
                  <a:txBody>
                    <a:bodyPr/>
                    <a:lstStyle/>
                    <a:p>
                      <a:pPr algn="l" fontAlgn="b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питатели в дошкольном образовании</a:t>
                      </a:r>
                    </a:p>
                  </a:txBody>
                  <a:tcPr marL="72000" marR="0" marT="0" marB="0" anchor="b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3E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6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7</a:t>
                      </a:r>
                    </a:p>
                  </a:txBody>
                  <a:tcPr marL="9525" marR="9525" marT="0" marB="0" anchor="ctr">
                    <a:lnL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5413550"/>
                  </a:ext>
                </a:extLst>
              </a:tr>
            </a:tbl>
          </a:graphicData>
        </a:graphic>
      </p:graphicFrame>
      <p:graphicFrame>
        <p:nvGraphicFramePr>
          <p:cNvPr id="20" name="Таблица 19">
            <a:extLst>
              <a:ext uri="{FF2B5EF4-FFF2-40B4-BE49-F238E27FC236}">
                <a16:creationId xmlns:a16="http://schemas.microsoft.com/office/drawing/2014/main" id="{DEB801CB-1EB8-6E82-F338-4EA1EFD462BD}"/>
              </a:ext>
            </a:extLst>
          </p:cNvPr>
          <p:cNvGraphicFramePr>
            <a:graphicFrameLocks noGrp="1"/>
          </p:cNvGraphicFramePr>
          <p:nvPr/>
        </p:nvGraphicFramePr>
        <p:xfrm>
          <a:off x="3817750" y="1001759"/>
          <a:ext cx="3723929" cy="1832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20469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9726397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00366369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460692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168891">
                <a:tc>
                  <a:txBody>
                    <a:bodyPr/>
                    <a:lstStyle/>
                    <a:p>
                      <a:pPr algn="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</a:t>
                      </a:r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Q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2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 Q4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616399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азов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0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54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78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 2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2868A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2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29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4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10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0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72000">
                <a:tc gridSpan="6"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b"/>
                      <a:endParaRPr lang="ru-RU" sz="7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7285190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пт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9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2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2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1 16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47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1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5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8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 97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7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2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3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3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72000">
                <a:tc>
                  <a:txBody>
                    <a:bodyPr/>
                    <a:lstStyle/>
                    <a:p>
                      <a:pPr marL="72000" algn="l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3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4299" marT="4299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8865477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72000" algn="l" fontAlgn="b"/>
                      <a:r>
                        <a:rPr lang="ru-RU" sz="8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ессимистичный сценарий, всего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7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98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 00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 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2 8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квалифицированных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8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0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0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8891">
                <a:tc>
                  <a:txBody>
                    <a:bodyPr/>
                    <a:lstStyle/>
                    <a:p>
                      <a:pPr marL="216000" algn="l" fontAlgn="b"/>
                      <a:r>
                        <a:rPr lang="ru-RU" sz="7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 том числе рабочих профессий</a:t>
                      </a:r>
                    </a:p>
                  </a:txBody>
                  <a:tcPr marL="4299" marR="4299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2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93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AC584BBE-A2B7-AC5C-8FF3-DC4DCDC2630D}"/>
              </a:ext>
            </a:extLst>
          </p:cNvPr>
          <p:cNvSpPr/>
          <p:nvPr/>
        </p:nvSpPr>
        <p:spPr>
          <a:xfrm>
            <a:off x="204491" y="1787476"/>
            <a:ext cx="1590674" cy="397062"/>
          </a:xfrm>
          <a:prstGeom prst="roundRect">
            <a:avLst/>
          </a:prstGeom>
          <a:solidFill>
            <a:srgbClr val="56A972"/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1,2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3" name="Прямоугольник: скругленные углы 22">
            <a:extLst>
              <a:ext uri="{FF2B5EF4-FFF2-40B4-BE49-F238E27FC236}">
                <a16:creationId xmlns:a16="http://schemas.microsoft.com/office/drawing/2014/main" id="{7B6AE2B2-7A7F-1629-3325-E1F674C91579}"/>
              </a:ext>
            </a:extLst>
          </p:cNvPr>
          <p:cNvSpPr/>
          <p:nvPr/>
        </p:nvSpPr>
        <p:spPr>
          <a:xfrm>
            <a:off x="198673" y="1240892"/>
            <a:ext cx="1596525" cy="397062"/>
          </a:xfrm>
          <a:prstGeom prst="roundRect">
            <a:avLst/>
          </a:prstGeom>
          <a:solidFill>
            <a:srgbClr val="1E4E7A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48,2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D5D9F85D-9E97-B374-8820-ED343A8BC312}"/>
              </a:ext>
            </a:extLst>
          </p:cNvPr>
          <p:cNvSpPr txBox="1">
            <a:spLocks/>
          </p:cNvSpPr>
          <p:nvPr/>
        </p:nvSpPr>
        <p:spPr>
          <a:xfrm>
            <a:off x="1857372" y="1852119"/>
            <a:ext cx="15906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00B050"/>
                </a:solidFill>
                <a:latin typeface="+mn-lt"/>
              </a:rPr>
              <a:t>оптимистичный сценарий</a:t>
            </a:r>
            <a:endParaRPr lang="ru-KZ" sz="1200" b="0" kern="0" dirty="0">
              <a:solidFill>
                <a:srgbClr val="00B050"/>
              </a:solidFill>
              <a:latin typeface="+mn-lt"/>
            </a:endParaRPr>
          </a:p>
        </p:txBody>
      </p:sp>
      <p:sp>
        <p:nvSpPr>
          <p:cNvPr id="28" name="Заголовок 1">
            <a:extLst>
              <a:ext uri="{FF2B5EF4-FFF2-40B4-BE49-F238E27FC236}">
                <a16:creationId xmlns:a16="http://schemas.microsoft.com/office/drawing/2014/main" id="{A53AA8B4-1CE8-6B3F-E1EC-F96DAACC82B9}"/>
              </a:ext>
            </a:extLst>
          </p:cNvPr>
          <p:cNvSpPr txBox="1">
            <a:spLocks/>
          </p:cNvSpPr>
          <p:nvPr/>
        </p:nvSpPr>
        <p:spPr>
          <a:xfrm>
            <a:off x="1857372" y="1292568"/>
            <a:ext cx="1095377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базовый</a:t>
            </a:r>
            <a:r>
              <a:rPr lang="en-US" sz="1200" b="0" kern="0" dirty="0">
                <a:solidFill>
                  <a:srgbClr val="2868A3"/>
                </a:solidFill>
                <a:latin typeface="+mn-lt"/>
              </a:rPr>
              <a:t> </a:t>
            </a:r>
            <a:r>
              <a:rPr lang="ru-RU" sz="1200" b="0" kern="0" dirty="0">
                <a:solidFill>
                  <a:srgbClr val="2868A3"/>
                </a:solidFill>
                <a:latin typeface="+mn-lt"/>
              </a:rPr>
              <a:t>сценарий</a:t>
            </a:r>
            <a:endParaRPr lang="ru-KZ" sz="1200" b="0" kern="0" dirty="0">
              <a:solidFill>
                <a:srgbClr val="2868A3"/>
              </a:solidFill>
              <a:latin typeface="+mn-lt"/>
            </a:endParaRPr>
          </a:p>
        </p:txBody>
      </p:sp>
      <p:sp>
        <p:nvSpPr>
          <p:cNvPr id="29" name="Прямоугольник: скругленные углы 28">
            <a:extLst>
              <a:ext uri="{FF2B5EF4-FFF2-40B4-BE49-F238E27FC236}">
                <a16:creationId xmlns:a16="http://schemas.microsoft.com/office/drawing/2014/main" id="{5782F9F7-6BA2-6511-44EB-D05E25707FE8}"/>
              </a:ext>
            </a:extLst>
          </p:cNvPr>
          <p:cNvSpPr/>
          <p:nvPr/>
        </p:nvSpPr>
        <p:spPr>
          <a:xfrm>
            <a:off x="192713" y="2381064"/>
            <a:ext cx="1590674" cy="397062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</a:rPr>
              <a:t>52,9 </a:t>
            </a:r>
            <a:r>
              <a:rPr lang="ru-RU" sz="1400" dirty="0">
                <a:solidFill>
                  <a:schemeClr val="bg1"/>
                </a:solidFill>
              </a:rPr>
              <a:t>тыс.</a:t>
            </a:r>
            <a:endParaRPr lang="ru-KZ" sz="1400" dirty="0">
              <a:solidFill>
                <a:schemeClr val="bg1"/>
              </a:solidFill>
            </a:endParaRPr>
          </a:p>
        </p:txBody>
      </p: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F2289872-2B63-DEF0-1E4B-85C515B4F489}"/>
              </a:ext>
            </a:extLst>
          </p:cNvPr>
          <p:cNvSpPr txBox="1">
            <a:spLocks/>
          </p:cNvSpPr>
          <p:nvPr/>
        </p:nvSpPr>
        <p:spPr>
          <a:xfrm>
            <a:off x="1872058" y="2436803"/>
            <a:ext cx="1930576" cy="274078"/>
          </a:xfrm>
          <a:prstGeom prst="rect">
            <a:avLst/>
          </a:prstGeom>
          <a:noFill/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defTabSz="914400"/>
            <a:r>
              <a:rPr lang="ru-RU" sz="1200" b="0" kern="0" dirty="0">
                <a:solidFill>
                  <a:srgbClr val="C00000"/>
                </a:solidFill>
                <a:latin typeface="+mn-lt"/>
              </a:rPr>
              <a:t>пессимистичный сценарий</a:t>
            </a:r>
            <a:endParaRPr lang="ru-KZ" sz="1200" b="0" kern="0" dirty="0">
              <a:solidFill>
                <a:srgbClr val="C00000"/>
              </a:solidFill>
              <a:latin typeface="+mn-lt"/>
            </a:endParaRPr>
          </a:p>
        </p:txBody>
      </p:sp>
      <p:graphicFrame>
        <p:nvGraphicFramePr>
          <p:cNvPr id="44" name="Таблица 43">
            <a:extLst>
              <a:ext uri="{FF2B5EF4-FFF2-40B4-BE49-F238E27FC236}">
                <a16:creationId xmlns:a16="http://schemas.microsoft.com/office/drawing/2014/main" id="{7A66674D-C012-1D07-2721-FE00A68BDE36}"/>
              </a:ext>
            </a:extLst>
          </p:cNvPr>
          <p:cNvGraphicFramePr>
            <a:graphicFrameLocks noGrp="1"/>
          </p:cNvGraphicFramePr>
          <p:nvPr/>
        </p:nvGraphicFramePr>
        <p:xfrm>
          <a:off x="3816894" y="3257582"/>
          <a:ext cx="3720173" cy="32384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85568">
                  <a:extLst>
                    <a:ext uri="{9D8B030D-6E8A-4147-A177-3AD203B41FA5}">
                      <a16:colId xmlns:a16="http://schemas.microsoft.com/office/drawing/2014/main" val="3829927557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11535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</a:tblGrid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уководители и государственные служащ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8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5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профессионалы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2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84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пециалисты-техники и вспомогательный профессиональный персонал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35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9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9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Служащие в области администрирования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4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1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тники сферы услуг и продаж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6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 1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Фермеры и рабочие сельского и лесного хозяйства, рыбоводства и рыболовства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6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Рабочие промышленности, строительства, транспорта и других родственных заняти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10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 4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7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Операторы производственного оборудования, сборщики и водители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2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52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1 0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359833">
                <a:tc>
                  <a:txBody>
                    <a:bodyPr/>
                    <a:lstStyle/>
                    <a:p>
                      <a:pPr algn="r" fontAlgn="b"/>
                      <a:r>
                        <a:rPr lang="ru-RU" sz="800" u="none" strike="noStrike" dirty="0">
                          <a:effectLst/>
                          <a:latin typeface="Arial Narrow" panose="020B0606020202030204" pitchFamily="34" charset="0"/>
                        </a:rPr>
                        <a:t>Неквалифицированные рабочие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299" marR="72000" marT="4299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1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34 7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26 1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1100" b="0" i="0" u="none" strike="noStrike" cap="non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Arial"/>
                        </a:rPr>
                        <a:t>40 30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graphicFrame>
        <p:nvGraphicFramePr>
          <p:cNvPr id="45" name="Таблица 44">
            <a:extLst>
              <a:ext uri="{FF2B5EF4-FFF2-40B4-BE49-F238E27FC236}">
                <a16:creationId xmlns:a16="http://schemas.microsoft.com/office/drawing/2014/main" id="{E73B76F4-360A-A2C4-5861-5B8BBA5D7A9E}"/>
              </a:ext>
            </a:extLst>
          </p:cNvPr>
          <p:cNvGraphicFramePr>
            <a:graphicFrameLocks noGrp="1"/>
          </p:cNvGraphicFramePr>
          <p:nvPr/>
        </p:nvGraphicFramePr>
        <p:xfrm>
          <a:off x="213379" y="3257583"/>
          <a:ext cx="2988000" cy="32384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48000">
                  <a:extLst>
                    <a:ext uri="{9D8B030D-6E8A-4147-A177-3AD203B41FA5}">
                      <a16:colId xmlns:a16="http://schemas.microsoft.com/office/drawing/2014/main" val="3235026823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2081229640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3464309781"/>
                    </a:ext>
                  </a:extLst>
                </a:gridCol>
                <a:gridCol w="1044000">
                  <a:extLst>
                    <a:ext uri="{9D8B030D-6E8A-4147-A177-3AD203B41FA5}">
                      <a16:colId xmlns:a16="http://schemas.microsoft.com/office/drawing/2014/main" val="1252218795"/>
                    </a:ext>
                  </a:extLst>
                </a:gridCol>
              </a:tblGrid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0 5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24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9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тырау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0748790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0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4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 6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стана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039885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97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 6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Турке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94419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3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95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араганд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924089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3 56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9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 10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ызылорд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02183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1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39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Шымкент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98244611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6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74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. Алматы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386725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4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6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лмат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128322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6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7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амбыл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98277156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5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8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останай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37114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43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5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тюб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82808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2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5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еверо-Казах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0329884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09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39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кмоли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0393486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4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16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27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Жетыс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9895048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3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90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9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ангистау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491382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1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Павлодар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2868725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8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5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лытау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5789250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1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60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осточно-Казах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27767213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9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1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8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Западно-Казахстанская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182437"/>
                  </a:ext>
                </a:extLst>
              </a:tr>
              <a:tr h="161924"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E4E7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6A97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KZ" sz="9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1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5373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бай</a:t>
                      </a:r>
                    </a:p>
                  </a:txBody>
                  <a:tcPr marL="72000" marR="9525" marT="9525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1E4E7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9119400"/>
                  </a:ext>
                </a:extLst>
              </a:tr>
            </a:tbl>
          </a:graphicData>
        </a:graphic>
      </p:graphicFrame>
      <p:sp>
        <p:nvSpPr>
          <p:cNvPr id="47" name="Заголовок 1">
            <a:extLst>
              <a:ext uri="{FF2B5EF4-FFF2-40B4-BE49-F238E27FC236}">
                <a16:creationId xmlns:a16="http://schemas.microsoft.com/office/drawing/2014/main" id="{3ED786C7-6CA6-6365-E5A2-AF3115209007}"/>
              </a:ext>
            </a:extLst>
          </p:cNvPr>
          <p:cNvSpPr txBox="1">
            <a:spLocks/>
          </p:cNvSpPr>
          <p:nvPr/>
        </p:nvSpPr>
        <p:spPr>
          <a:xfrm>
            <a:off x="-158530" y="701705"/>
            <a:ext cx="3899139" cy="404486"/>
          </a:xfrm>
          <a:prstGeom prst="rect">
            <a:avLst/>
          </a:prstGeom>
        </p:spPr>
        <p:txBody>
          <a:bodyPr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200" kern="0" dirty="0"/>
              <a:t>Общее количество вакансий в 2025 году</a:t>
            </a:r>
          </a:p>
        </p:txBody>
      </p:sp>
      <p:sp>
        <p:nvSpPr>
          <p:cNvPr id="49" name="Заголовок 1">
            <a:extLst>
              <a:ext uri="{FF2B5EF4-FFF2-40B4-BE49-F238E27FC236}">
                <a16:creationId xmlns:a16="http://schemas.microsoft.com/office/drawing/2014/main" id="{54C2B807-9A3F-6F22-1024-FD7E5AECB516}"/>
              </a:ext>
            </a:extLst>
          </p:cNvPr>
          <p:cNvSpPr txBox="1">
            <a:spLocks/>
          </p:cNvSpPr>
          <p:nvPr/>
        </p:nvSpPr>
        <p:spPr>
          <a:xfrm rot="5400000">
            <a:off x="10764279" y="1858404"/>
            <a:ext cx="2008142" cy="29485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Не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CCDA49A2-02CF-EC44-3610-A65EEE00ECFB}"/>
              </a:ext>
            </a:extLst>
          </p:cNvPr>
          <p:cNvSpPr txBox="1">
            <a:spLocks/>
          </p:cNvSpPr>
          <p:nvPr/>
        </p:nvSpPr>
        <p:spPr>
          <a:xfrm rot="5400000">
            <a:off x="10808978" y="3802760"/>
            <a:ext cx="1909181" cy="323461"/>
          </a:xfrm>
          <a:prstGeom prst="rect">
            <a:avLst/>
          </a:prstGeom>
          <a:solidFill>
            <a:srgbClr val="9CC3E7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latin typeface="Arial Narrow" panose="020B0606020202030204" pitchFamily="34" charset="0"/>
              </a:rPr>
              <a:t>Квалифицированные профессии</a:t>
            </a:r>
            <a:endParaRPr lang="ru-KZ" sz="1000" b="0" kern="0" dirty="0">
              <a:latin typeface="Arial Narrow" panose="020B0606020202030204" pitchFamily="34" charset="0"/>
            </a:endParaRPr>
          </a:p>
        </p:txBody>
      </p:sp>
      <p:sp>
        <p:nvSpPr>
          <p:cNvPr id="51" name="Заголовок 1">
            <a:extLst>
              <a:ext uri="{FF2B5EF4-FFF2-40B4-BE49-F238E27FC236}">
                <a16:creationId xmlns:a16="http://schemas.microsoft.com/office/drawing/2014/main" id="{C5E4FFC4-0032-105F-2AD5-7D523910B21B}"/>
              </a:ext>
            </a:extLst>
          </p:cNvPr>
          <p:cNvSpPr txBox="1">
            <a:spLocks/>
          </p:cNvSpPr>
          <p:nvPr/>
        </p:nvSpPr>
        <p:spPr>
          <a:xfrm rot="5400000">
            <a:off x="10979839" y="5550606"/>
            <a:ext cx="1576986" cy="313932"/>
          </a:xfrm>
          <a:prstGeom prst="rect">
            <a:avLst/>
          </a:prstGeom>
          <a:solidFill>
            <a:srgbClr val="2868A3"/>
          </a:solidFill>
        </p:spPr>
        <p:txBody>
          <a:bodyPr anchor="ctr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1" i="0" u="none" strike="noStrike" cap="none">
                <a:solidFill>
                  <a:srgbClr val="0A112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  <a:sym typeface="Arial"/>
              </a:defRPr>
            </a:lvl1pPr>
          </a:lstStyle>
          <a:p>
            <a:pPr algn="ctr" defTabSz="914400"/>
            <a:r>
              <a:rPr lang="ru-RU" sz="1000" b="0" kern="0" dirty="0">
                <a:solidFill>
                  <a:schemeClr val="bg1"/>
                </a:solidFill>
                <a:latin typeface="Arial Narrow" panose="020B0606020202030204" pitchFamily="34" charset="0"/>
              </a:rPr>
              <a:t>Рабочие профессии</a:t>
            </a:r>
            <a:endParaRPr lang="ru-KZ" sz="1000" b="0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FD6C87A-D08C-B95E-AD9F-9AA574C6B21D}"/>
              </a:ext>
            </a:extLst>
          </p:cNvPr>
          <p:cNvSpPr/>
          <p:nvPr/>
        </p:nvSpPr>
        <p:spPr>
          <a:xfrm rot="5400000">
            <a:off x="9021182" y="3591945"/>
            <a:ext cx="5494304" cy="313931"/>
          </a:xfrm>
          <a:prstGeom prst="rect">
            <a:avLst/>
          </a:prstGeom>
          <a:noFill/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KZ" b="1"/>
          </a:p>
        </p:txBody>
      </p:sp>
    </p:spTree>
    <p:extLst>
      <p:ext uri="{BB962C8B-B14F-4D97-AF65-F5344CB8AC3E}">
        <p14:creationId xmlns:p14="http://schemas.microsoft.com/office/powerpoint/2010/main" val="27625894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7B1E42A-9060-9F13-6428-1E1C4E5C5F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>
            <a:extLst>
              <a:ext uri="{FF2B5EF4-FFF2-40B4-BE49-F238E27FC236}">
                <a16:creationId xmlns:a16="http://schemas.microsoft.com/office/drawing/2014/main" id="{CFEB6682-7B60-19D7-8A15-BD8C1D476792}"/>
              </a:ext>
            </a:extLst>
          </p:cNvPr>
          <p:cNvSpPr txBox="1">
            <a:spLocks/>
          </p:cNvSpPr>
          <p:nvPr/>
        </p:nvSpPr>
        <p:spPr>
          <a:xfrm>
            <a:off x="72000" y="2733675"/>
            <a:ext cx="12120000" cy="85962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 ea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 u="none" strike="noStrike" cap="none">
                <a:solidFill>
                  <a:schemeClr val="bg2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/>
                <a:sym typeface="Arial"/>
              </a:defRPr>
            </a:lvl1pPr>
          </a:lstStyle>
          <a:p>
            <a:pPr algn="ctr" defTabSz="914400"/>
            <a:r>
              <a:rPr lang="ru-RU" sz="2400" b="1" kern="0" dirty="0">
                <a:solidFill>
                  <a:srgbClr val="143452"/>
                </a:solidFill>
                <a:latin typeface="+mn-lt"/>
              </a:rPr>
              <a:t>ПРИЛОЖЕНИЕ </a:t>
            </a:r>
            <a:r>
              <a:rPr lang="en-US" sz="2400" b="1" kern="0" dirty="0">
                <a:solidFill>
                  <a:srgbClr val="143452"/>
                </a:solidFill>
                <a:latin typeface="+mn-lt"/>
              </a:rPr>
              <a:t>I</a:t>
            </a:r>
            <a:endParaRPr lang="ru-RU" sz="2400" b="1" kern="0" dirty="0">
              <a:solidFill>
                <a:srgbClr val="143452"/>
              </a:solidFill>
              <a:latin typeface="+mn-lt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kern="0" dirty="0">
                <a:solidFill>
                  <a:srgbClr val="14345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гионы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rgbClr val="14345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algn="ctr" defTabSz="914400"/>
            <a:endParaRPr lang="ru-RU" sz="4800" b="1" kern="0" dirty="0">
              <a:solidFill>
                <a:srgbClr val="14345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89146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DCG template">
  <a:themeElements>
    <a:clrScheme name="DCG">
      <a:dk1>
        <a:srgbClr val="000000"/>
      </a:dk1>
      <a:lt1>
        <a:srgbClr val="FFFFFF"/>
      </a:lt1>
      <a:dk2>
        <a:srgbClr val="007F76"/>
      </a:dk2>
      <a:lt2>
        <a:srgbClr val="00646C"/>
      </a:lt2>
      <a:accent1>
        <a:srgbClr val="007F76"/>
      </a:accent1>
      <a:accent2>
        <a:srgbClr val="2868A3"/>
      </a:accent2>
      <a:accent3>
        <a:srgbClr val="8EC6A1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DCG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01-05-2018 Dasco CORP Presentation</Template>
  <TotalTime>108120</TotalTime>
  <Words>49926</Words>
  <Application>Microsoft Office PowerPoint</Application>
  <PresentationFormat>Широкоэкранный</PresentationFormat>
  <Paragraphs>22036</Paragraphs>
  <Slides>8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8</vt:i4>
      </vt:variant>
    </vt:vector>
  </HeadingPairs>
  <TitlesOfParts>
    <vt:vector size="93" baseType="lpstr">
      <vt:lpstr>Arial</vt:lpstr>
      <vt:lpstr>Arial Narrow</vt:lpstr>
      <vt:lpstr>Calibri</vt:lpstr>
      <vt:lpstr>2_DCG template</vt:lpstr>
      <vt:lpstr>think-cell Slide</vt:lpstr>
      <vt:lpstr>Презентация PowerPoint</vt:lpstr>
      <vt:lpstr>Содержание</vt:lpstr>
      <vt:lpstr>Рынок труда в 2023-2024 годах</vt:lpstr>
      <vt:lpstr>Рынок труда в 2023-2024 годах: квалифицированные работники</vt:lpstr>
      <vt:lpstr>Рынок труда в 2023-2024 годах: рабочие профессии</vt:lpstr>
      <vt:lpstr>Рынок труда в 2025 году</vt:lpstr>
      <vt:lpstr>Востребованные рабочие профессии (2025)</vt:lpstr>
      <vt:lpstr>Востребованные квалифицированные профессии (2025)*</vt:lpstr>
      <vt:lpstr>Презентация PowerPoint</vt:lpstr>
      <vt:lpstr>Область Абай (факт)</vt:lpstr>
      <vt:lpstr>Область Абай (прогноз)</vt:lpstr>
      <vt:lpstr>Акмолинская область (факт)</vt:lpstr>
      <vt:lpstr>Акмолинская область (прогноз)</vt:lpstr>
      <vt:lpstr>Актюбинская область (факт)</vt:lpstr>
      <vt:lpstr>Актюбинская область (прогноз)</vt:lpstr>
      <vt:lpstr>Алматинская область (факт)</vt:lpstr>
      <vt:lpstr>Алматинская область (прогноз)</vt:lpstr>
      <vt:lpstr>Атырауская область (факт)</vt:lpstr>
      <vt:lpstr>Атырауская область (прогноз)</vt:lpstr>
      <vt:lpstr>З.-Казахстанская область (факт)</vt:lpstr>
      <vt:lpstr>З.-Казахстанская область (прогноз)</vt:lpstr>
      <vt:lpstr>Жамбылская область (факт)</vt:lpstr>
      <vt:lpstr>Жамбылская область (прогноз)</vt:lpstr>
      <vt:lpstr>Область Жетысу (факт)</vt:lpstr>
      <vt:lpstr>Область Жетысу (прогноз)</vt:lpstr>
      <vt:lpstr>Карагандинская область (факт)</vt:lpstr>
      <vt:lpstr>Карагандинская область (прогноз)</vt:lpstr>
      <vt:lpstr>Костанайская область (факт)</vt:lpstr>
      <vt:lpstr>Костанайская область (прогноз)</vt:lpstr>
      <vt:lpstr>Кызылординская область (факт)</vt:lpstr>
      <vt:lpstr>Кызылординская область (прогноз)</vt:lpstr>
      <vt:lpstr>Мангистауская область (факт)</vt:lpstr>
      <vt:lpstr>Мангистауская область (прогноз)</vt:lpstr>
      <vt:lpstr>Павлодарская область (факт)</vt:lpstr>
      <vt:lpstr>Павлодарская область (прогноз)</vt:lpstr>
      <vt:lpstr>С.-Казахстанская область (факт)</vt:lpstr>
      <vt:lpstr>С.-Казахстанская область (прогноз)</vt:lpstr>
      <vt:lpstr>Туркестанская область (факт)</vt:lpstr>
      <vt:lpstr>Туркестанская область (прогноз)</vt:lpstr>
      <vt:lpstr>Область Улытау (факт)</vt:lpstr>
      <vt:lpstr>Область Улытау (прогноз)</vt:lpstr>
      <vt:lpstr>В.-Казахстанская область (факт)</vt:lpstr>
      <vt:lpstr>В.-Казахстанская область (прогноз)</vt:lpstr>
      <vt:lpstr>Г. Астана (факт)</vt:lpstr>
      <vt:lpstr>Г. Астана (прогноз)</vt:lpstr>
      <vt:lpstr>Г. Алматы (факт)</vt:lpstr>
      <vt:lpstr>Г. Алматы (прогноз)</vt:lpstr>
      <vt:lpstr>Г. Шымкент (факт)</vt:lpstr>
      <vt:lpstr>Г. Шымкент (прогноз)</vt:lpstr>
      <vt:lpstr>Презентация PowerPoint</vt:lpstr>
      <vt:lpstr>Сельское хозяйство (факт)</vt:lpstr>
      <vt:lpstr>Сельское хозяйство (прогноз)</vt:lpstr>
      <vt:lpstr>Горнодобывающая промышленность (факт)</vt:lpstr>
      <vt:lpstr>Горнодобывающая промышленность (прогноз)</vt:lpstr>
      <vt:lpstr>Обрабатывающая промышленность (факт)</vt:lpstr>
      <vt:lpstr>Обрабатывающая промышленность (прогноз)</vt:lpstr>
      <vt:lpstr>Электро- и энергоснабжение (факт)</vt:lpstr>
      <vt:lpstr>Электро- и энергоснабжение (прогноз)</vt:lpstr>
      <vt:lpstr>Водоснабжение и удаление отходов (факт)</vt:lpstr>
      <vt:lpstr>Водоснабжение и удаление отходов (прогноз)</vt:lpstr>
      <vt:lpstr>Строительство (факт)</vt:lpstr>
      <vt:lpstr>Строительство (прогноз)</vt:lpstr>
      <vt:lpstr>Торговля (факт)</vt:lpstr>
      <vt:lpstr>Торговля (прогноз)</vt:lpstr>
      <vt:lpstr>Транспорт и складирование (факт)</vt:lpstr>
      <vt:lpstr>Транспорт и складирование (прогноз)</vt:lpstr>
      <vt:lpstr>Услуги по проживанию и питанию (факт)</vt:lpstr>
      <vt:lpstr>Услуги по проживанию и питанию (прогноз)</vt:lpstr>
      <vt:lpstr>Информация и связь (факт)</vt:lpstr>
      <vt:lpstr>Информация и связь (прогноз)</vt:lpstr>
      <vt:lpstr>Финансы и страхование (факт)</vt:lpstr>
      <vt:lpstr>Финансы и страхование (прогноз)</vt:lpstr>
      <vt:lpstr>Операции с недвижимостью (факт)</vt:lpstr>
      <vt:lpstr>Операции с недвижимостью (прогноз)</vt:lpstr>
      <vt:lpstr>Проф. и научная деятельность (факт)</vt:lpstr>
      <vt:lpstr>Проф. и научная деятельность (прогноз)</vt:lpstr>
      <vt:lpstr>Адм. и вспом. обслуживание (факт)</vt:lpstr>
      <vt:lpstr>Адм. и вспом. обслуживание (прогноз)</vt:lpstr>
      <vt:lpstr>Гос. управление и соц. обеспечение (факт)</vt:lpstr>
      <vt:lpstr>Гос. управление и соц. обеспечение (прогноз)</vt:lpstr>
      <vt:lpstr>Образование (факт)</vt:lpstr>
      <vt:lpstr>Образование (прогноз)</vt:lpstr>
      <vt:lpstr>Здравоохранение (факт)</vt:lpstr>
      <vt:lpstr>Здравоохранение (прогноз)</vt:lpstr>
      <vt:lpstr>Искусство и развлечения (факт)</vt:lpstr>
      <vt:lpstr>Искусство и развлечения (прогноз)</vt:lpstr>
      <vt:lpstr>Прочие индивидуальные услуги (факт)</vt:lpstr>
      <vt:lpstr>Прочие индивидуальные услуги (прогноз)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y Name</dc:creator>
  <cp:lastModifiedBy>. .</cp:lastModifiedBy>
  <cp:revision>3628</cp:revision>
  <cp:lastPrinted>2025-04-18T05:56:13Z</cp:lastPrinted>
  <dcterms:created xsi:type="dcterms:W3CDTF">2018-04-01T08:04:46Z</dcterms:created>
  <dcterms:modified xsi:type="dcterms:W3CDTF">2025-04-25T05:39:44Z</dcterms:modified>
</cp:coreProperties>
</file>